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heme/themeOverride2.xml" ContentType="application/vnd.openxmlformats-officedocument.themeOverr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heme/themeOverride3.xml" ContentType="application/vnd.openxmlformats-officedocument.themeOverrid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heme/themeOverride4.xml" ContentType="application/vnd.openxmlformats-officedocument.themeOverrid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heme/themeOverride5.xml" ContentType="application/vnd.openxmlformats-officedocument.themeOverrid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theme/themeOverride6.xml" ContentType="application/vnd.openxmlformats-officedocument.themeOverrid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theme/themeOverride7.xml" ContentType="application/vnd.openxmlformats-officedocument.themeOverrid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theme/themeOverride8.xml" ContentType="application/vnd.openxmlformats-officedocument.themeOverr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24"/>
  </p:notesMasterIdLst>
  <p:handoutMasterIdLst>
    <p:handoutMasterId r:id="rId25"/>
  </p:handoutMasterIdLst>
  <p:sldIdLst>
    <p:sldId id="256" r:id="rId2"/>
    <p:sldId id="312" r:id="rId3"/>
    <p:sldId id="317" r:id="rId4"/>
    <p:sldId id="336" r:id="rId5"/>
    <p:sldId id="318" r:id="rId6"/>
    <p:sldId id="329" r:id="rId7"/>
    <p:sldId id="330" r:id="rId8"/>
    <p:sldId id="331" r:id="rId9"/>
    <p:sldId id="332" r:id="rId10"/>
    <p:sldId id="333" r:id="rId11"/>
    <p:sldId id="334" r:id="rId12"/>
    <p:sldId id="335" r:id="rId13"/>
    <p:sldId id="324" r:id="rId14"/>
    <p:sldId id="327" r:id="rId15"/>
    <p:sldId id="326" r:id="rId16"/>
    <p:sldId id="9284" r:id="rId17"/>
    <p:sldId id="328" r:id="rId18"/>
    <p:sldId id="259" r:id="rId19"/>
    <p:sldId id="258" r:id="rId20"/>
    <p:sldId id="339" r:id="rId21"/>
    <p:sldId id="319" r:id="rId22"/>
    <p:sldId id="340" r:id="rId23"/>
  </p:sldIdLst>
  <p:sldSz cx="9144000" cy="5143500" type="screen16x9"/>
  <p:notesSz cx="9775825" cy="6669088"/>
  <p:custDataLst>
    <p:tags r:id="rId2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5" orient="horz" pos="1801" userDrawn="1">
          <p15:clr>
            <a:srgbClr val="A4A3A4"/>
          </p15:clr>
        </p15:guide>
        <p15:guide id="26" orient="horz" pos="2890" userDrawn="1">
          <p15:clr>
            <a:srgbClr val="A4A3A4"/>
          </p15:clr>
        </p15:guide>
        <p15:guide id="27" orient="horz" pos="713">
          <p15:clr>
            <a:srgbClr val="A4A3A4"/>
          </p15:clr>
        </p15:guide>
        <p15:guide id="28" pos="249">
          <p15:clr>
            <a:srgbClr val="A4A3A4"/>
          </p15:clr>
        </p15:guide>
        <p15:guide id="29" pos="5511">
          <p15:clr>
            <a:srgbClr val="A4A3A4"/>
          </p15:clr>
        </p15:guide>
        <p15:guide id="30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580">
          <p15:clr>
            <a:srgbClr val="A4A3A4"/>
          </p15:clr>
        </p15:guide>
        <p15:guide id="2" orient="horz" pos="3688">
          <p15:clr>
            <a:srgbClr val="A4A3A4"/>
          </p15:clr>
        </p15:guide>
        <p15:guide id="3" pos="3011">
          <p15:clr>
            <a:srgbClr val="A4A3A4"/>
          </p15:clr>
        </p15:guide>
        <p15:guide id="4" pos="3147">
          <p15:clr>
            <a:srgbClr val="A4A3A4"/>
          </p15:clr>
        </p15:guide>
        <p15:guide id="5" pos="5914">
          <p15:clr>
            <a:srgbClr val="A4A3A4"/>
          </p15:clr>
        </p15:guide>
        <p15:guide id="6" pos="244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Luba Barosova" initials="LB" lastIdx="1" clrIdx="0">
    <p:extLst>
      <p:ext uri="{19B8F6BF-5375-455C-9EA6-DF929625EA0E}">
        <p15:presenceInfo xmlns:p15="http://schemas.microsoft.com/office/powerpoint/2012/main" userId="S-1-5-21-3758152897-3531032977-541646969-1898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redný štýl 2 - zvýrazneni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6970" autoAdjust="0"/>
  </p:normalViewPr>
  <p:slideViewPr>
    <p:cSldViewPr snapToObjects="1">
      <p:cViewPr varScale="1">
        <p:scale>
          <a:sx n="141" d="100"/>
          <a:sy n="141" d="100"/>
        </p:scale>
        <p:origin x="120" y="138"/>
      </p:cViewPr>
      <p:guideLst>
        <p:guide orient="horz" pos="1801"/>
        <p:guide orient="horz" pos="2890"/>
        <p:guide orient="horz" pos="713"/>
        <p:guide pos="249"/>
        <p:guide pos="5511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8218"/>
    </p:cViewPr>
  </p:sorterViewPr>
  <p:notesViewPr>
    <p:cSldViewPr snapToObjects="1" showGuides="1">
      <p:cViewPr varScale="1">
        <p:scale>
          <a:sx n="111" d="100"/>
          <a:sy n="111" d="100"/>
        </p:scale>
        <p:origin x="2022" y="108"/>
      </p:cViewPr>
      <p:guideLst>
        <p:guide orient="horz" pos="580"/>
        <p:guide orient="horz" pos="3688"/>
        <p:guide pos="3011"/>
        <p:guide pos="3147"/>
        <p:guide pos="5914"/>
        <p:guide pos="24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ags" Target="tags/tag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handoutMaster" Target="handoutMasters/handout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commentAuthors" Target="commentAuthors.xml"/><Relationship Id="rId30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.xml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package" Target="../embeddings/Microsoft_Excel_Worksheet1.xlsx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3.xml"/><Relationship Id="rId2" Type="http://schemas.microsoft.com/office/2011/relationships/chartColorStyle" Target="colors3.xml"/><Relationship Id="rId1" Type="http://schemas.microsoft.com/office/2011/relationships/chartStyle" Target="style3.xml"/><Relationship Id="rId4" Type="http://schemas.openxmlformats.org/officeDocument/2006/relationships/package" Target="../embeddings/Microsoft_Excel_Worksheet3.xlsx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4.xml"/><Relationship Id="rId2" Type="http://schemas.microsoft.com/office/2011/relationships/chartColorStyle" Target="colors4.xml"/><Relationship Id="rId1" Type="http://schemas.microsoft.com/office/2011/relationships/chartStyle" Target="style4.xml"/><Relationship Id="rId4" Type="http://schemas.openxmlformats.org/officeDocument/2006/relationships/package" Target="../embeddings/Microsoft_Excel_Worksheet4.xlsx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5.xml"/><Relationship Id="rId2" Type="http://schemas.microsoft.com/office/2011/relationships/chartColorStyle" Target="colors5.xml"/><Relationship Id="rId1" Type="http://schemas.microsoft.com/office/2011/relationships/chartStyle" Target="style5.xml"/><Relationship Id="rId4" Type="http://schemas.openxmlformats.org/officeDocument/2006/relationships/package" Target="../embeddings/Microsoft_Excel_Worksheet7.xlsx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6.xml"/><Relationship Id="rId2" Type="http://schemas.microsoft.com/office/2011/relationships/chartColorStyle" Target="colors6.xml"/><Relationship Id="rId1" Type="http://schemas.microsoft.com/office/2011/relationships/chartStyle" Target="style6.xml"/><Relationship Id="rId4" Type="http://schemas.openxmlformats.org/officeDocument/2006/relationships/package" Target="../embeddings/Microsoft_Excel_Worksheet9.xlsx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7.xml"/><Relationship Id="rId2" Type="http://schemas.microsoft.com/office/2011/relationships/chartColorStyle" Target="colors7.xml"/><Relationship Id="rId1" Type="http://schemas.microsoft.com/office/2011/relationships/chartStyle" Target="style7.xml"/><Relationship Id="rId4" Type="http://schemas.openxmlformats.org/officeDocument/2006/relationships/package" Target="../embeddings/Microsoft_Excel_Worksheet11.xlsx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8.xml"/><Relationship Id="rId2" Type="http://schemas.microsoft.com/office/2011/relationships/chartColorStyle" Target="colors8.xml"/><Relationship Id="rId1" Type="http://schemas.microsoft.com/office/2011/relationships/chartStyle" Target="style8.xml"/><Relationship Id="rId4" Type="http://schemas.openxmlformats.org/officeDocument/2006/relationships/package" Target="../embeddings/Microsoft_Excel_Worksheet13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sk-SK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b="1" i="0" baseline="0"/>
              <a:t>Podiel SK produkcie</a:t>
            </a:r>
          </a:p>
        </c:rich>
      </c:tx>
      <c:layout>
        <c:manualLayout>
          <c:xMode val="edge"/>
          <c:yMode val="edge"/>
          <c:x val="0.31682546652837107"/>
          <c:y val="2.7370478983382209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sk-SK"/>
        </a:p>
      </c:txPr>
    </c:title>
    <c:autoTitleDeleted val="0"/>
    <c:plotArea>
      <c:layout>
        <c:manualLayout>
          <c:layoutTarget val="inner"/>
          <c:xMode val="edge"/>
          <c:yMode val="edge"/>
          <c:x val="9.9900481189851273E-2"/>
          <c:y val="0.16245370370370371"/>
          <c:w val="0.87232174103237092"/>
          <c:h val="0.6149843248760571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Hárok1!$B$1</c:f>
              <c:strCache>
                <c:ptCount val="1"/>
                <c:pt idx="0">
                  <c:v>II.polrok 2019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Hárok1!$A$2:$A$4</c:f>
              <c:strCache>
                <c:ptCount val="3"/>
                <c:pt idx="0">
                  <c:v>ovocie</c:v>
                </c:pt>
                <c:pt idx="1">
                  <c:v>zelenina</c:v>
                </c:pt>
                <c:pt idx="2">
                  <c:v>zemiaky</c:v>
                </c:pt>
              </c:strCache>
            </c:strRef>
          </c:cat>
          <c:val>
            <c:numRef>
              <c:f>Hárok1!$B$2:$B$4</c:f>
              <c:numCache>
                <c:formatCode>0%</c:formatCode>
                <c:ptCount val="3"/>
                <c:pt idx="0">
                  <c:v>0.16</c:v>
                </c:pt>
                <c:pt idx="1">
                  <c:v>0.64</c:v>
                </c:pt>
                <c:pt idx="2">
                  <c:v>0.8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2E5-4E78-A54E-1E1D8DA475CC}"/>
            </c:ext>
          </c:extLst>
        </c:ser>
        <c:ser>
          <c:idx val="1"/>
          <c:order val="1"/>
          <c:tx>
            <c:strRef>
              <c:f>Hárok1!$C$1</c:f>
              <c:strCache>
                <c:ptCount val="1"/>
                <c:pt idx="0">
                  <c:v>I.polrok 2020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Hárok1!$A$2:$A$4</c:f>
              <c:strCache>
                <c:ptCount val="3"/>
                <c:pt idx="0">
                  <c:v>ovocie</c:v>
                </c:pt>
                <c:pt idx="1">
                  <c:v>zelenina</c:v>
                </c:pt>
                <c:pt idx="2">
                  <c:v>zemiaky</c:v>
                </c:pt>
              </c:strCache>
            </c:strRef>
          </c:cat>
          <c:val>
            <c:numRef>
              <c:f>Hárok1!$C$2:$C$4</c:f>
              <c:numCache>
                <c:formatCode>0%</c:formatCode>
                <c:ptCount val="3"/>
                <c:pt idx="0">
                  <c:v>7.0000000000000007E-2</c:v>
                </c:pt>
                <c:pt idx="1">
                  <c:v>0.53</c:v>
                </c:pt>
                <c:pt idx="2">
                  <c:v>0.550000000000000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2E5-4E78-A54E-1E1D8DA475C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172124192"/>
        <c:axId val="1135076528"/>
      </c:barChart>
      <c:catAx>
        <c:axId val="117212419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sk-SK"/>
          </a:p>
        </c:txPr>
        <c:crossAx val="1135076528"/>
        <c:crosses val="autoZero"/>
        <c:auto val="1"/>
        <c:lblAlgn val="ctr"/>
        <c:lblOffset val="100"/>
        <c:noMultiLvlLbl val="0"/>
      </c:catAx>
      <c:valAx>
        <c:axId val="113507652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sk-SK"/>
          </a:p>
        </c:txPr>
        <c:crossAx val="117212419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sk-SK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sk-SK"/>
    </a:p>
  </c:txPr>
  <c:externalData r:id="rId4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sk-SK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b="1" dirty="0" err="1"/>
              <a:t>Čučoriedky</a:t>
            </a:r>
            <a:r>
              <a:rPr lang="sk-SK" dirty="0"/>
              <a:t>-predaj v kg</a:t>
            </a:r>
            <a:r>
              <a:rPr lang="en-US" dirty="0"/>
              <a:t> 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sk-SK"/>
        </a:p>
      </c:tx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Hárok2!$A$3</c:f>
              <c:strCache>
                <c:ptCount val="1"/>
                <c:pt idx="0">
                  <c:v>Čučoriedky 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5C27-4D48-B6DE-B9E9527CF525}"/>
              </c:ext>
            </c:extLst>
          </c:dPt>
          <c:dPt>
            <c:idx val="2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5C27-4D48-B6DE-B9E9527CF525}"/>
              </c:ext>
            </c:extLst>
          </c:dPt>
          <c:dPt>
            <c:idx val="4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5C27-4D48-B6DE-B9E9527CF525}"/>
              </c:ext>
            </c:extLst>
          </c:dPt>
          <c:dPt>
            <c:idx val="6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5C27-4D48-B6DE-B9E9527CF525}"/>
              </c:ext>
            </c:extLst>
          </c:dPt>
          <c:cat>
            <c:multiLvlStrRef>
              <c:f>Hárok2!$B$1:$I$2</c:f>
              <c:multiLvlStrCache>
                <c:ptCount val="8"/>
                <c:lvl>
                  <c:pt idx="0">
                    <c:v>Import</c:v>
                  </c:pt>
                  <c:pt idx="1">
                    <c:v>SK</c:v>
                  </c:pt>
                  <c:pt idx="2">
                    <c:v>Import</c:v>
                  </c:pt>
                  <c:pt idx="3">
                    <c:v>SK</c:v>
                  </c:pt>
                  <c:pt idx="4">
                    <c:v>Import</c:v>
                  </c:pt>
                  <c:pt idx="5">
                    <c:v>SK</c:v>
                  </c:pt>
                  <c:pt idx="6">
                    <c:v>Import</c:v>
                  </c:pt>
                  <c:pt idx="7">
                    <c:v>SK</c:v>
                  </c:pt>
                </c:lvl>
                <c:lvl>
                  <c:pt idx="0">
                    <c:v>1-6/2019</c:v>
                  </c:pt>
                  <c:pt idx="2">
                    <c:v>1-6/2020</c:v>
                  </c:pt>
                  <c:pt idx="4">
                    <c:v>7-12/2019</c:v>
                  </c:pt>
                  <c:pt idx="6">
                    <c:v>7-11/2020</c:v>
                  </c:pt>
                </c:lvl>
              </c:multiLvlStrCache>
            </c:multiLvlStrRef>
          </c:cat>
          <c:val>
            <c:numRef>
              <c:f>Hárok2!$B$3:$I$3</c:f>
              <c:numCache>
                <c:formatCode>#,##0_ ;\-#,##0\ </c:formatCode>
                <c:ptCount val="8"/>
                <c:pt idx="0">
                  <c:v>151999</c:v>
                </c:pt>
                <c:pt idx="1">
                  <c:v>386</c:v>
                </c:pt>
                <c:pt idx="2">
                  <c:v>145923.29999999999</c:v>
                </c:pt>
                <c:pt idx="3">
                  <c:v>1192</c:v>
                </c:pt>
                <c:pt idx="4">
                  <c:v>97351.5</c:v>
                </c:pt>
                <c:pt idx="5">
                  <c:v>54415.5</c:v>
                </c:pt>
                <c:pt idx="6">
                  <c:v>40204.5</c:v>
                </c:pt>
                <c:pt idx="7">
                  <c:v>6124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5C27-4D48-B6DE-B9E9527CF52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259565151"/>
        <c:axId val="1209363391"/>
      </c:barChart>
      <c:catAx>
        <c:axId val="1259565151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sk-SK"/>
          </a:p>
        </c:txPr>
        <c:crossAx val="1209363391"/>
        <c:crosses val="autoZero"/>
        <c:auto val="1"/>
        <c:lblAlgn val="ctr"/>
        <c:lblOffset val="100"/>
        <c:noMultiLvlLbl val="0"/>
      </c:catAx>
      <c:valAx>
        <c:axId val="1209363391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_ ;\-#,##0\ 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sk-SK"/>
          </a:p>
        </c:txPr>
        <c:crossAx val="1259565151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sk-SK"/>
    </a:p>
  </c:txPr>
  <c:externalData r:id="rId4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sk-SK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b="1" dirty="0" err="1"/>
              <a:t>Cibuľa</a:t>
            </a:r>
            <a:r>
              <a:rPr lang="sk-SK" dirty="0"/>
              <a:t>-predaj v kg</a:t>
            </a:r>
            <a:endParaRPr lang="en-US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sk-SK"/>
        </a:p>
      </c:tx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Hárok3!$A$3</c:f>
              <c:strCache>
                <c:ptCount val="1"/>
                <c:pt idx="0">
                  <c:v>Cibuľa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76D0-4866-9654-465924FA3974}"/>
              </c:ext>
            </c:extLst>
          </c:dPt>
          <c:dPt>
            <c:idx val="2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76D0-4866-9654-465924FA3974}"/>
              </c:ext>
            </c:extLst>
          </c:dPt>
          <c:dPt>
            <c:idx val="4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76D0-4866-9654-465924FA3974}"/>
              </c:ext>
            </c:extLst>
          </c:dPt>
          <c:dPt>
            <c:idx val="6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76D0-4866-9654-465924FA3974}"/>
              </c:ext>
            </c:extLst>
          </c:dPt>
          <c:cat>
            <c:multiLvlStrRef>
              <c:f>Hárok3!$B$1:$I$2</c:f>
              <c:multiLvlStrCache>
                <c:ptCount val="8"/>
                <c:lvl>
                  <c:pt idx="0">
                    <c:v>Import</c:v>
                  </c:pt>
                  <c:pt idx="1">
                    <c:v>SK</c:v>
                  </c:pt>
                  <c:pt idx="2">
                    <c:v>Import</c:v>
                  </c:pt>
                  <c:pt idx="3">
                    <c:v>SK</c:v>
                  </c:pt>
                  <c:pt idx="4">
                    <c:v>Import</c:v>
                  </c:pt>
                  <c:pt idx="5">
                    <c:v>SK</c:v>
                  </c:pt>
                  <c:pt idx="6">
                    <c:v>Import</c:v>
                  </c:pt>
                  <c:pt idx="7">
                    <c:v>SK</c:v>
                  </c:pt>
                </c:lvl>
                <c:lvl>
                  <c:pt idx="0">
                    <c:v>1-6/2019</c:v>
                  </c:pt>
                  <c:pt idx="2">
                    <c:v>1-6/2020</c:v>
                  </c:pt>
                  <c:pt idx="4">
                    <c:v>7-12/2019</c:v>
                  </c:pt>
                  <c:pt idx="6">
                    <c:v>7-11/2020</c:v>
                  </c:pt>
                </c:lvl>
              </c:multiLvlStrCache>
            </c:multiLvlStrRef>
          </c:cat>
          <c:val>
            <c:numRef>
              <c:f>Hárok3!$B$3:$I$3</c:f>
              <c:numCache>
                <c:formatCode>_-* #,##0_-;\-* #,##0_-;_-* "-"??_-;_-@_-</c:formatCode>
                <c:ptCount val="8"/>
                <c:pt idx="0">
                  <c:v>879230.50300000003</c:v>
                </c:pt>
                <c:pt idx="1">
                  <c:v>1750726.0049999999</c:v>
                </c:pt>
                <c:pt idx="2">
                  <c:v>316637.06</c:v>
                </c:pt>
                <c:pt idx="3">
                  <c:v>2715562.8389999997</c:v>
                </c:pt>
                <c:pt idx="4">
                  <c:v>335170</c:v>
                </c:pt>
                <c:pt idx="5">
                  <c:v>2794745.5980000002</c:v>
                </c:pt>
                <c:pt idx="6">
                  <c:v>40880</c:v>
                </c:pt>
                <c:pt idx="7">
                  <c:v>2508978.157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76D0-4866-9654-465924FA397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526803295"/>
        <c:axId val="1522177663"/>
      </c:barChart>
      <c:catAx>
        <c:axId val="1526803295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sk-SK"/>
          </a:p>
        </c:txPr>
        <c:crossAx val="1522177663"/>
        <c:crosses val="autoZero"/>
        <c:auto val="1"/>
        <c:lblAlgn val="ctr"/>
        <c:lblOffset val="100"/>
        <c:noMultiLvlLbl val="0"/>
      </c:catAx>
      <c:valAx>
        <c:axId val="1522177663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_-* #,##0_-;\-* #,##0_-;_-* &quot;-&quot;??_-;_-@_-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sk-SK"/>
          </a:p>
        </c:txPr>
        <c:crossAx val="152680329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sk-SK"/>
    </a:p>
  </c:txPr>
  <c:externalData r:id="rId4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sk-SK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b="1" dirty="0" err="1"/>
              <a:t>Cesnak</a:t>
            </a:r>
            <a:r>
              <a:rPr lang="sk-SK" dirty="0"/>
              <a:t>-predaj v kg</a:t>
            </a:r>
            <a:endParaRPr lang="en-US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sk-SK"/>
        </a:p>
      </c:tx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Hárok4!$A$3</c:f>
              <c:strCache>
                <c:ptCount val="1"/>
                <c:pt idx="0">
                  <c:v>Cesnak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9D40-4DAC-9669-A6654B3A5D0B}"/>
              </c:ext>
            </c:extLst>
          </c:dPt>
          <c:dPt>
            <c:idx val="2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9D40-4DAC-9669-A6654B3A5D0B}"/>
              </c:ext>
            </c:extLst>
          </c:dPt>
          <c:dPt>
            <c:idx val="4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9D40-4DAC-9669-A6654B3A5D0B}"/>
              </c:ext>
            </c:extLst>
          </c:dPt>
          <c:dPt>
            <c:idx val="6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9D40-4DAC-9669-A6654B3A5D0B}"/>
              </c:ext>
            </c:extLst>
          </c:dPt>
          <c:cat>
            <c:multiLvlStrRef>
              <c:f>Hárok4!$B$1:$I$2</c:f>
              <c:multiLvlStrCache>
                <c:ptCount val="8"/>
                <c:lvl>
                  <c:pt idx="0">
                    <c:v>Import</c:v>
                  </c:pt>
                  <c:pt idx="1">
                    <c:v>SK</c:v>
                  </c:pt>
                  <c:pt idx="2">
                    <c:v>Import</c:v>
                  </c:pt>
                  <c:pt idx="3">
                    <c:v>SK</c:v>
                  </c:pt>
                  <c:pt idx="4">
                    <c:v>Import</c:v>
                  </c:pt>
                  <c:pt idx="5">
                    <c:v>SK</c:v>
                  </c:pt>
                  <c:pt idx="6">
                    <c:v>Import</c:v>
                  </c:pt>
                  <c:pt idx="7">
                    <c:v>SK</c:v>
                  </c:pt>
                </c:lvl>
                <c:lvl>
                  <c:pt idx="0">
                    <c:v>1-6/2019</c:v>
                  </c:pt>
                  <c:pt idx="2">
                    <c:v>1-6/2020</c:v>
                  </c:pt>
                  <c:pt idx="4">
                    <c:v>7-12/2019</c:v>
                  </c:pt>
                  <c:pt idx="6">
                    <c:v>7-11/2020</c:v>
                  </c:pt>
                </c:lvl>
              </c:multiLvlStrCache>
            </c:multiLvlStrRef>
          </c:cat>
          <c:val>
            <c:numRef>
              <c:f>Hárok4!$B$3:$I$3</c:f>
              <c:numCache>
                <c:formatCode>_-* #,##0_-;\-* #,##0_-;_-* "-"??_-;_-@_-</c:formatCode>
                <c:ptCount val="8"/>
                <c:pt idx="0">
                  <c:v>219203.34599999999</c:v>
                </c:pt>
                <c:pt idx="1">
                  <c:v>1633.019</c:v>
                </c:pt>
                <c:pt idx="2">
                  <c:v>214430.677</c:v>
                </c:pt>
                <c:pt idx="3">
                  <c:v>596.88</c:v>
                </c:pt>
                <c:pt idx="4">
                  <c:v>165144.57199999999</c:v>
                </c:pt>
                <c:pt idx="5">
                  <c:v>81859.430999999997</c:v>
                </c:pt>
                <c:pt idx="6">
                  <c:v>29367.184000000001</c:v>
                </c:pt>
                <c:pt idx="7">
                  <c:v>168525.27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9D40-4DAC-9669-A6654B3A5D0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533641407"/>
        <c:axId val="1534571055"/>
      </c:barChart>
      <c:catAx>
        <c:axId val="153364140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sk-SK"/>
          </a:p>
        </c:txPr>
        <c:crossAx val="1534571055"/>
        <c:crosses val="autoZero"/>
        <c:auto val="1"/>
        <c:lblAlgn val="ctr"/>
        <c:lblOffset val="100"/>
        <c:noMultiLvlLbl val="0"/>
      </c:catAx>
      <c:valAx>
        <c:axId val="1534571055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_-* #,##0_-;\-* #,##0_-;_-* &quot;-&quot;??_-;_-@_-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sk-SK"/>
          </a:p>
        </c:txPr>
        <c:crossAx val="1533641407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sk-SK"/>
    </a:p>
  </c:txPr>
  <c:externalData r:id="rId4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sk-SK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sk-SK" b="1" dirty="0"/>
              <a:t>Mrkva</a:t>
            </a:r>
            <a:r>
              <a:rPr lang="sk-SK" baseline="0" dirty="0"/>
              <a:t> – predaj v kg</a:t>
            </a:r>
            <a:endParaRPr lang="en-US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sk-SK"/>
        </a:p>
      </c:tx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Hárok6!$A$3</c:f>
              <c:strCache>
                <c:ptCount val="1"/>
                <c:pt idx="0">
                  <c:v>Karotka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D115-4A61-A0FB-8363553CDCB9}"/>
              </c:ext>
            </c:extLst>
          </c:dPt>
          <c:dPt>
            <c:idx val="2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D115-4A61-A0FB-8363553CDCB9}"/>
              </c:ext>
            </c:extLst>
          </c:dPt>
          <c:dPt>
            <c:idx val="4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D115-4A61-A0FB-8363553CDCB9}"/>
              </c:ext>
            </c:extLst>
          </c:dPt>
          <c:dPt>
            <c:idx val="6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D115-4A61-A0FB-8363553CDCB9}"/>
              </c:ext>
            </c:extLst>
          </c:dPt>
          <c:cat>
            <c:multiLvlStrRef>
              <c:f>Hárok6!$B$1:$I$2</c:f>
              <c:multiLvlStrCache>
                <c:ptCount val="8"/>
                <c:lvl>
                  <c:pt idx="0">
                    <c:v>Import</c:v>
                  </c:pt>
                  <c:pt idx="1">
                    <c:v>SK</c:v>
                  </c:pt>
                  <c:pt idx="2">
                    <c:v>Import</c:v>
                  </c:pt>
                  <c:pt idx="3">
                    <c:v>SK</c:v>
                  </c:pt>
                  <c:pt idx="4">
                    <c:v>Import</c:v>
                  </c:pt>
                  <c:pt idx="5">
                    <c:v>SK</c:v>
                  </c:pt>
                  <c:pt idx="6">
                    <c:v>Import</c:v>
                  </c:pt>
                  <c:pt idx="7">
                    <c:v>SK</c:v>
                  </c:pt>
                </c:lvl>
                <c:lvl>
                  <c:pt idx="0">
                    <c:v>1-6/2019</c:v>
                  </c:pt>
                  <c:pt idx="2">
                    <c:v>1-6/2020</c:v>
                  </c:pt>
                  <c:pt idx="4">
                    <c:v>7-12/2019</c:v>
                  </c:pt>
                  <c:pt idx="6">
                    <c:v>7-11/2020</c:v>
                  </c:pt>
                </c:lvl>
              </c:multiLvlStrCache>
            </c:multiLvlStrRef>
          </c:cat>
          <c:val>
            <c:numRef>
              <c:f>Hárok6!$B$3:$I$3</c:f>
              <c:numCache>
                <c:formatCode>_-* #,##0_-;\-* #,##0_-;_-* "-"??_-;_-@_-</c:formatCode>
                <c:ptCount val="8"/>
                <c:pt idx="0">
                  <c:v>2686648.7450000001</c:v>
                </c:pt>
                <c:pt idx="1">
                  <c:v>256722.954</c:v>
                </c:pt>
                <c:pt idx="2">
                  <c:v>1026984.3129999998</c:v>
                </c:pt>
                <c:pt idx="3">
                  <c:v>2115826.8200000003</c:v>
                </c:pt>
                <c:pt idx="4">
                  <c:v>412670.17999999993</c:v>
                </c:pt>
                <c:pt idx="5">
                  <c:v>2140472.037</c:v>
                </c:pt>
                <c:pt idx="6">
                  <c:v>77895</c:v>
                </c:pt>
                <c:pt idx="7">
                  <c:v>1908407.504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D115-4A61-A0FB-8363553CDCB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616066815"/>
        <c:axId val="1534584783"/>
      </c:barChart>
      <c:catAx>
        <c:axId val="1616066815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sk-SK"/>
          </a:p>
        </c:txPr>
        <c:crossAx val="1534584783"/>
        <c:crosses val="autoZero"/>
        <c:auto val="1"/>
        <c:lblAlgn val="ctr"/>
        <c:lblOffset val="100"/>
        <c:noMultiLvlLbl val="0"/>
      </c:catAx>
      <c:valAx>
        <c:axId val="1534584783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_-* #,##0_-;\-* #,##0_-;_-* &quot;-&quot;??_-;_-@_-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sk-SK"/>
          </a:p>
        </c:txPr>
        <c:crossAx val="161606681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sk-SK"/>
    </a:p>
  </c:txPr>
  <c:externalData r:id="rId4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sk-SK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b="1" dirty="0" err="1"/>
              <a:t>Zemiaky</a:t>
            </a:r>
            <a:r>
              <a:rPr lang="sk-SK" dirty="0"/>
              <a:t>-predaj v kg</a:t>
            </a:r>
            <a:endParaRPr lang="en-US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sk-SK"/>
        </a:p>
      </c:tx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Hárok7!$A$3</c:f>
              <c:strCache>
                <c:ptCount val="1"/>
                <c:pt idx="0">
                  <c:v>Zemiak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36BB-455A-B2B9-FBD9AA76B561}"/>
              </c:ext>
            </c:extLst>
          </c:dPt>
          <c:dPt>
            <c:idx val="2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36BB-455A-B2B9-FBD9AA76B561}"/>
              </c:ext>
            </c:extLst>
          </c:dPt>
          <c:dPt>
            <c:idx val="4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36BB-455A-B2B9-FBD9AA76B561}"/>
              </c:ext>
            </c:extLst>
          </c:dPt>
          <c:dPt>
            <c:idx val="6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36BB-455A-B2B9-FBD9AA76B561}"/>
              </c:ext>
            </c:extLst>
          </c:dPt>
          <c:cat>
            <c:multiLvlStrRef>
              <c:f>Hárok7!$B$1:$I$2</c:f>
              <c:multiLvlStrCache>
                <c:ptCount val="8"/>
                <c:lvl>
                  <c:pt idx="0">
                    <c:v>Import</c:v>
                  </c:pt>
                  <c:pt idx="1">
                    <c:v>SK</c:v>
                  </c:pt>
                  <c:pt idx="2">
                    <c:v>Import</c:v>
                  </c:pt>
                  <c:pt idx="3">
                    <c:v>SK</c:v>
                  </c:pt>
                  <c:pt idx="4">
                    <c:v>Import</c:v>
                  </c:pt>
                  <c:pt idx="5">
                    <c:v>SK</c:v>
                  </c:pt>
                  <c:pt idx="6">
                    <c:v>Import</c:v>
                  </c:pt>
                  <c:pt idx="7">
                    <c:v>SK</c:v>
                  </c:pt>
                </c:lvl>
                <c:lvl>
                  <c:pt idx="0">
                    <c:v>1-6/2019</c:v>
                  </c:pt>
                  <c:pt idx="2">
                    <c:v>1-6/2020</c:v>
                  </c:pt>
                  <c:pt idx="4">
                    <c:v>7-12/2019</c:v>
                  </c:pt>
                  <c:pt idx="6">
                    <c:v>7-11/2020</c:v>
                  </c:pt>
                </c:lvl>
              </c:multiLvlStrCache>
            </c:multiLvlStrRef>
          </c:cat>
          <c:val>
            <c:numRef>
              <c:f>Hárok7!$B$3:$I$3</c:f>
              <c:numCache>
                <c:formatCode>_-* #,##0_-;\-* #,##0_-;_-* "-"??_-;_-@_-</c:formatCode>
                <c:ptCount val="8"/>
                <c:pt idx="0">
                  <c:v>7290448.5159999989</c:v>
                </c:pt>
                <c:pt idx="1">
                  <c:v>4013492.6369999996</c:v>
                </c:pt>
                <c:pt idx="2">
                  <c:v>6151409.4629999995</c:v>
                </c:pt>
                <c:pt idx="3">
                  <c:v>7585942.2970000003</c:v>
                </c:pt>
                <c:pt idx="4">
                  <c:v>1662092.7919999999</c:v>
                </c:pt>
                <c:pt idx="5">
                  <c:v>9931783.8469999991</c:v>
                </c:pt>
                <c:pt idx="6">
                  <c:v>748761.75600000005</c:v>
                </c:pt>
                <c:pt idx="7">
                  <c:v>8928917.842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36BB-455A-B2B9-FBD9AA76B56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645248527"/>
        <c:axId val="1617326623"/>
      </c:barChart>
      <c:catAx>
        <c:axId val="164524852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sk-SK"/>
          </a:p>
        </c:txPr>
        <c:crossAx val="1617326623"/>
        <c:crosses val="autoZero"/>
        <c:auto val="1"/>
        <c:lblAlgn val="ctr"/>
        <c:lblOffset val="100"/>
        <c:noMultiLvlLbl val="0"/>
      </c:catAx>
      <c:valAx>
        <c:axId val="1617326623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_-* #,##0_-;\-* #,##0_-;_-* &quot;-&quot;??_-;_-@_-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sk-SK"/>
          </a:p>
        </c:txPr>
        <c:crossAx val="1645248527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sk-SK"/>
    </a:p>
  </c:txPr>
  <c:externalData r:id="rId4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sk-SK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b="1" dirty="0" err="1"/>
              <a:t>Petržlen</a:t>
            </a:r>
            <a:r>
              <a:rPr lang="sk-SK" dirty="0"/>
              <a:t>-predaj v kg</a:t>
            </a:r>
            <a:endParaRPr lang="en-US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sk-SK"/>
        </a:p>
      </c:tx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Hárok8!$A$3</c:f>
              <c:strCache>
                <c:ptCount val="1"/>
                <c:pt idx="0">
                  <c:v>Petržlen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9164-492A-A7C5-E4CC576C9B5E}"/>
              </c:ext>
            </c:extLst>
          </c:dPt>
          <c:dPt>
            <c:idx val="2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9164-492A-A7C5-E4CC576C9B5E}"/>
              </c:ext>
            </c:extLst>
          </c:dPt>
          <c:dPt>
            <c:idx val="4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9164-492A-A7C5-E4CC576C9B5E}"/>
              </c:ext>
            </c:extLst>
          </c:dPt>
          <c:dPt>
            <c:idx val="6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9164-492A-A7C5-E4CC576C9B5E}"/>
              </c:ext>
            </c:extLst>
          </c:dPt>
          <c:cat>
            <c:multiLvlStrRef>
              <c:f>Hárok8!$B$1:$I$2</c:f>
              <c:multiLvlStrCache>
                <c:ptCount val="8"/>
                <c:lvl>
                  <c:pt idx="0">
                    <c:v>Import</c:v>
                  </c:pt>
                  <c:pt idx="1">
                    <c:v>SK</c:v>
                  </c:pt>
                  <c:pt idx="2">
                    <c:v>Import</c:v>
                  </c:pt>
                  <c:pt idx="3">
                    <c:v>SK</c:v>
                  </c:pt>
                  <c:pt idx="4">
                    <c:v>Import</c:v>
                  </c:pt>
                  <c:pt idx="5">
                    <c:v>SK</c:v>
                  </c:pt>
                  <c:pt idx="6">
                    <c:v>Import</c:v>
                  </c:pt>
                  <c:pt idx="7">
                    <c:v>SK</c:v>
                  </c:pt>
                </c:lvl>
                <c:lvl>
                  <c:pt idx="0">
                    <c:v>1-6/2019</c:v>
                  </c:pt>
                  <c:pt idx="2">
                    <c:v>1-6/2020</c:v>
                  </c:pt>
                  <c:pt idx="4">
                    <c:v>7-12/2019</c:v>
                  </c:pt>
                  <c:pt idx="6">
                    <c:v>7-11/2020</c:v>
                  </c:pt>
                </c:lvl>
              </c:multiLvlStrCache>
            </c:multiLvlStrRef>
          </c:cat>
          <c:val>
            <c:numRef>
              <c:f>Hárok8!$B$3:$I$3</c:f>
              <c:numCache>
                <c:formatCode>_-* #,##0_-;\-* #,##0_-;_-* "-"??_-;_-@_-</c:formatCode>
                <c:ptCount val="8"/>
                <c:pt idx="0">
                  <c:v>523006.31399999995</c:v>
                </c:pt>
                <c:pt idx="1">
                  <c:v>59738.764999999999</c:v>
                </c:pt>
                <c:pt idx="2">
                  <c:v>103625.39199999999</c:v>
                </c:pt>
                <c:pt idx="3">
                  <c:v>562561.75799999991</c:v>
                </c:pt>
                <c:pt idx="4">
                  <c:v>79866.513000000035</c:v>
                </c:pt>
                <c:pt idx="5">
                  <c:v>441877.29300000001</c:v>
                </c:pt>
                <c:pt idx="6">
                  <c:v>10925</c:v>
                </c:pt>
                <c:pt idx="7">
                  <c:v>409503.332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9164-492A-A7C5-E4CC576C9B5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642905103"/>
        <c:axId val="1617329535"/>
      </c:barChart>
      <c:catAx>
        <c:axId val="1642905103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sk-SK"/>
          </a:p>
        </c:txPr>
        <c:crossAx val="1617329535"/>
        <c:crosses val="autoZero"/>
        <c:auto val="1"/>
        <c:lblAlgn val="ctr"/>
        <c:lblOffset val="100"/>
        <c:noMultiLvlLbl val="0"/>
      </c:catAx>
      <c:valAx>
        <c:axId val="1617329535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_-* #,##0_-;\-* #,##0_-;_-* &quot;-&quot;??_-;_-@_-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sk-SK"/>
          </a:p>
        </c:txPr>
        <c:crossAx val="1642905103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sk-SK"/>
    </a:p>
  </c:txPr>
  <c:externalData r:id="rId4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sk-SK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sk-SK" b="1" dirty="0"/>
              <a:t>Tekvice</a:t>
            </a:r>
            <a:r>
              <a:rPr lang="sk-SK" dirty="0"/>
              <a:t>-predaj v kg</a:t>
            </a:r>
            <a:endParaRPr lang="en-US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sk-SK"/>
        </a:p>
      </c:tx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Hárok9!$A$3</c:f>
              <c:strCache>
                <c:ptCount val="1"/>
                <c:pt idx="0">
                  <c:v>Petržlen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9487-4098-9164-A1F84972D064}"/>
              </c:ext>
            </c:extLst>
          </c:dPt>
          <c:dPt>
            <c:idx val="2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9487-4098-9164-A1F84972D064}"/>
              </c:ext>
            </c:extLst>
          </c:dPt>
          <c:dPt>
            <c:idx val="4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9487-4098-9164-A1F84972D064}"/>
              </c:ext>
            </c:extLst>
          </c:dPt>
          <c:dPt>
            <c:idx val="6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9487-4098-9164-A1F84972D064}"/>
              </c:ext>
            </c:extLst>
          </c:dPt>
          <c:cat>
            <c:multiLvlStrRef>
              <c:f>Hárok9!$B$1:$I$2</c:f>
              <c:multiLvlStrCache>
                <c:ptCount val="8"/>
                <c:lvl>
                  <c:pt idx="0">
                    <c:v>Import</c:v>
                  </c:pt>
                  <c:pt idx="1">
                    <c:v>SK</c:v>
                  </c:pt>
                  <c:pt idx="2">
                    <c:v>Import</c:v>
                  </c:pt>
                  <c:pt idx="3">
                    <c:v>SK</c:v>
                  </c:pt>
                  <c:pt idx="4">
                    <c:v>Import</c:v>
                  </c:pt>
                  <c:pt idx="5">
                    <c:v>SK</c:v>
                  </c:pt>
                  <c:pt idx="6">
                    <c:v>Import</c:v>
                  </c:pt>
                  <c:pt idx="7">
                    <c:v>SK</c:v>
                  </c:pt>
                </c:lvl>
                <c:lvl>
                  <c:pt idx="0">
                    <c:v>1-6/2019</c:v>
                  </c:pt>
                  <c:pt idx="2">
                    <c:v>1-6/2020</c:v>
                  </c:pt>
                  <c:pt idx="4">
                    <c:v>7-12/2019</c:v>
                  </c:pt>
                  <c:pt idx="6">
                    <c:v>7-11/2020</c:v>
                  </c:pt>
                </c:lvl>
              </c:multiLvlStrCache>
            </c:multiLvlStrRef>
          </c:cat>
          <c:val>
            <c:numRef>
              <c:f>Hárok9!$B$3:$I$3</c:f>
              <c:numCache>
                <c:formatCode>_-* #,##0_-;\-* #,##0_-;_-* "-"??_-;_-@_-</c:formatCode>
                <c:ptCount val="8"/>
                <c:pt idx="0">
                  <c:v>184922.85500000001</c:v>
                </c:pt>
                <c:pt idx="1">
                  <c:v>57392.584000000003</c:v>
                </c:pt>
                <c:pt idx="2">
                  <c:v>122736.643</c:v>
                </c:pt>
                <c:pt idx="3">
                  <c:v>453188.29800000001</c:v>
                </c:pt>
                <c:pt idx="4">
                  <c:v>89872.251999999993</c:v>
                </c:pt>
                <c:pt idx="5">
                  <c:v>109435.351</c:v>
                </c:pt>
                <c:pt idx="6">
                  <c:v>73181.73</c:v>
                </c:pt>
                <c:pt idx="7">
                  <c:v>367407.706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9487-4098-9164-A1F84972D06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641098879"/>
        <c:axId val="1617341599"/>
      </c:barChart>
      <c:catAx>
        <c:axId val="1641098879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sk-SK"/>
          </a:p>
        </c:txPr>
        <c:crossAx val="1617341599"/>
        <c:crosses val="autoZero"/>
        <c:auto val="1"/>
        <c:lblAlgn val="ctr"/>
        <c:lblOffset val="100"/>
        <c:noMultiLvlLbl val="0"/>
      </c:catAx>
      <c:valAx>
        <c:axId val="1617341599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_-* #,##0_-;\-* #,##0_-;_-* &quot;-&quot;??_-;_-@_-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sk-SK"/>
          </a:p>
        </c:txPr>
        <c:crossAx val="164109887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sk-SK"/>
    </a:p>
  </c:txPr>
  <c:externalData r:id="rId4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2" name="Group 51"/>
          <p:cNvGrpSpPr/>
          <p:nvPr/>
        </p:nvGrpSpPr>
        <p:grpSpPr bwMode="gray">
          <a:xfrm>
            <a:off x="-152140" y="927343"/>
            <a:ext cx="89256" cy="4920298"/>
            <a:chOff x="-143043" y="927343"/>
            <a:chExt cx="89256" cy="4920298"/>
          </a:xfrm>
        </p:grpSpPr>
        <p:cxnSp>
          <p:nvCxnSpPr>
            <p:cNvPr id="53" name="Straight Connector 52"/>
            <p:cNvCxnSpPr/>
            <p:nvPr/>
          </p:nvCxnSpPr>
          <p:spPr bwMode="gray">
            <a:xfrm>
              <a:off x="-143043" y="927343"/>
              <a:ext cx="89256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Straight Connector 53"/>
            <p:cNvCxnSpPr/>
            <p:nvPr/>
          </p:nvCxnSpPr>
          <p:spPr bwMode="gray">
            <a:xfrm>
              <a:off x="-143043" y="5847641"/>
              <a:ext cx="89256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5" name="Group 54"/>
          <p:cNvGrpSpPr/>
          <p:nvPr/>
        </p:nvGrpSpPr>
        <p:grpSpPr bwMode="gray">
          <a:xfrm>
            <a:off x="9820460" y="927343"/>
            <a:ext cx="89256" cy="4920298"/>
            <a:chOff x="-143043" y="927343"/>
            <a:chExt cx="89256" cy="4920298"/>
          </a:xfrm>
        </p:grpSpPr>
        <p:cxnSp>
          <p:nvCxnSpPr>
            <p:cNvPr id="56" name="Straight Connector 55"/>
            <p:cNvCxnSpPr/>
            <p:nvPr/>
          </p:nvCxnSpPr>
          <p:spPr bwMode="gray">
            <a:xfrm>
              <a:off x="-143043" y="927343"/>
              <a:ext cx="89256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Straight Connector 56"/>
            <p:cNvCxnSpPr/>
            <p:nvPr/>
          </p:nvCxnSpPr>
          <p:spPr bwMode="gray">
            <a:xfrm>
              <a:off x="-143043" y="5847641"/>
              <a:ext cx="89256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8" name="Group 57"/>
          <p:cNvGrpSpPr/>
          <p:nvPr/>
        </p:nvGrpSpPr>
        <p:grpSpPr bwMode="gray">
          <a:xfrm rot="5400000">
            <a:off x="4843284" y="-4584084"/>
            <a:ext cx="89256" cy="9006252"/>
            <a:chOff x="-143043" y="-3176367"/>
            <a:chExt cx="89256" cy="9006252"/>
          </a:xfrm>
        </p:grpSpPr>
        <p:cxnSp>
          <p:nvCxnSpPr>
            <p:cNvPr id="59" name="Straight Connector 58"/>
            <p:cNvCxnSpPr/>
            <p:nvPr/>
          </p:nvCxnSpPr>
          <p:spPr bwMode="gray">
            <a:xfrm>
              <a:off x="-143043" y="1433025"/>
              <a:ext cx="89256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Connector 59"/>
            <p:cNvCxnSpPr/>
            <p:nvPr/>
          </p:nvCxnSpPr>
          <p:spPr bwMode="gray">
            <a:xfrm>
              <a:off x="-143043" y="5829885"/>
              <a:ext cx="89256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Connector 60"/>
            <p:cNvCxnSpPr/>
            <p:nvPr/>
          </p:nvCxnSpPr>
          <p:spPr bwMode="gray">
            <a:xfrm>
              <a:off x="-143043" y="1224745"/>
              <a:ext cx="89256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/>
            <p:cNvCxnSpPr/>
            <p:nvPr/>
          </p:nvCxnSpPr>
          <p:spPr bwMode="gray">
            <a:xfrm>
              <a:off x="-143043" y="-3176367"/>
              <a:ext cx="89256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3" name="Header Placeholder 1"/>
          <p:cNvSpPr>
            <a:spLocks noGrp="1"/>
          </p:cNvSpPr>
          <p:nvPr>
            <p:ph type="hdr" sz="quarter"/>
          </p:nvPr>
        </p:nvSpPr>
        <p:spPr bwMode="gray">
          <a:xfrm>
            <a:off x="387350" y="274204"/>
            <a:ext cx="4392207" cy="178645"/>
          </a:xfrm>
          <a:prstGeom prst="rect">
            <a:avLst/>
          </a:prstGeom>
        </p:spPr>
        <p:txBody>
          <a:bodyPr vert="horz" wrap="none" lIns="0" tIns="0" rIns="0" bIns="0" rtlCol="0" anchor="b"/>
          <a:lstStyle>
            <a:lvl1pPr algn="l">
              <a:defRPr sz="1000" b="1" cap="all" baseline="0">
                <a:solidFill>
                  <a:schemeClr val="accent4"/>
                </a:solidFill>
              </a:defRPr>
            </a:lvl1pPr>
          </a:lstStyle>
          <a:p>
            <a:endParaRPr lang="sk-SK" dirty="0"/>
          </a:p>
        </p:txBody>
      </p:sp>
      <p:grpSp>
        <p:nvGrpSpPr>
          <p:cNvPr id="67" name="Group 66"/>
          <p:cNvGrpSpPr/>
          <p:nvPr/>
        </p:nvGrpSpPr>
        <p:grpSpPr bwMode="gray">
          <a:xfrm rot="5400000">
            <a:off x="4843284" y="2233276"/>
            <a:ext cx="89256" cy="9006252"/>
            <a:chOff x="-143043" y="-3176367"/>
            <a:chExt cx="89256" cy="9006252"/>
          </a:xfrm>
        </p:grpSpPr>
        <p:cxnSp>
          <p:nvCxnSpPr>
            <p:cNvPr id="68" name="Straight Connector 67"/>
            <p:cNvCxnSpPr/>
            <p:nvPr/>
          </p:nvCxnSpPr>
          <p:spPr bwMode="gray">
            <a:xfrm>
              <a:off x="-143043" y="1433025"/>
              <a:ext cx="89256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/>
            <p:cNvCxnSpPr/>
            <p:nvPr/>
          </p:nvCxnSpPr>
          <p:spPr bwMode="gray">
            <a:xfrm>
              <a:off x="-143043" y="5829885"/>
              <a:ext cx="89256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/>
            <p:cNvCxnSpPr/>
            <p:nvPr/>
          </p:nvCxnSpPr>
          <p:spPr bwMode="gray">
            <a:xfrm>
              <a:off x="-143043" y="1224745"/>
              <a:ext cx="89256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/>
            <p:cNvCxnSpPr/>
            <p:nvPr/>
          </p:nvCxnSpPr>
          <p:spPr bwMode="gray">
            <a:xfrm>
              <a:off x="-143043" y="-3176367"/>
              <a:ext cx="89256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3" name="Date Placeholder 3"/>
          <p:cNvSpPr>
            <a:spLocks noGrp="1"/>
          </p:cNvSpPr>
          <p:nvPr>
            <p:ph type="dt" sz="half" idx="1"/>
          </p:nvPr>
        </p:nvSpPr>
        <p:spPr bwMode="gray">
          <a:xfrm>
            <a:off x="8416306" y="5962836"/>
            <a:ext cx="734844" cy="13605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1000">
                <a:solidFill>
                  <a:schemeClr val="accent1"/>
                </a:solidFill>
              </a:defRPr>
            </a:lvl1pPr>
          </a:lstStyle>
          <a:p>
            <a:pPr algn="ctr"/>
            <a:fld id="{50BD4B0B-0D73-4ECC-923F-6CE130A4C087}" type="datetime1">
              <a:rPr lang="cs-CZ" smtClean="0"/>
              <a:t>30.11.2020</a:t>
            </a:fld>
            <a:endParaRPr lang="cs-CZ" dirty="0"/>
          </a:p>
        </p:txBody>
      </p:sp>
      <p:sp>
        <p:nvSpPr>
          <p:cNvPr id="24" name="Footer Placeholder 4"/>
          <p:cNvSpPr>
            <a:spLocks noGrp="1"/>
          </p:cNvSpPr>
          <p:nvPr>
            <p:ph type="ftr" sz="quarter" idx="2"/>
          </p:nvPr>
        </p:nvSpPr>
        <p:spPr bwMode="gray">
          <a:xfrm>
            <a:off x="6292069" y="5962836"/>
            <a:ext cx="2124236" cy="13605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r">
              <a:defRPr sz="1000">
                <a:solidFill>
                  <a:schemeClr val="accent1"/>
                </a:solidFill>
              </a:defRPr>
            </a:lvl1pPr>
          </a:lstStyle>
          <a:p>
            <a:endParaRPr lang="cs-CZ" dirty="0"/>
          </a:p>
        </p:txBody>
      </p:sp>
      <p:sp>
        <p:nvSpPr>
          <p:cNvPr id="29" name="Slide Number Placeholder 5"/>
          <p:cNvSpPr>
            <a:spLocks noGrp="1"/>
          </p:cNvSpPr>
          <p:nvPr>
            <p:ph type="sldNum" sz="quarter" idx="3"/>
          </p:nvPr>
        </p:nvSpPr>
        <p:spPr bwMode="gray">
          <a:xfrm>
            <a:off x="9151150" y="5962836"/>
            <a:ext cx="611561" cy="13605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1000" b="0">
                <a:solidFill>
                  <a:schemeClr val="accent1"/>
                </a:solidFill>
              </a:defRPr>
            </a:lvl1pPr>
          </a:lstStyle>
          <a:p>
            <a:r>
              <a:rPr lang="cs-CZ">
                <a:sym typeface="Wingdings"/>
              </a:rPr>
              <a:t>  </a:t>
            </a:r>
            <a:fld id="{443B15C8-972D-49F6-9B7C-5A2154A8C95F}" type="slidenum">
              <a:rPr lang="cs-CZ" smtClean="0"/>
              <a:pPr/>
              <a:t>‹#›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2106958069"/>
      </p:ext>
    </p:extLst>
  </p:cSld>
  <p:clrMap bg1="lt1" tx1="dk1" bg2="lt2" tx2="dk2" accent1="accent1" accent2="accent2" accent3="accent3" accent4="accent4" accent5="accent5" accent6="accent6" hlink="hlink" folHlink="folHlink"/>
  <p:hf hd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 bwMode="gray">
          <a:xfrm>
            <a:off x="378797" y="927343"/>
            <a:ext cx="4401166" cy="2475655"/>
          </a:xfrm>
          <a:prstGeom prst="rect">
            <a:avLst/>
          </a:prstGeom>
          <a:noFill/>
          <a:ln w="12700">
            <a:solidFill>
              <a:schemeClr val="accent2"/>
            </a:solidFill>
          </a:ln>
        </p:spPr>
        <p:txBody>
          <a:bodyPr vert="horz" lIns="91440" tIns="45720" rIns="91440" bIns="45720" rtlCol="0" anchor="ctr"/>
          <a:lstStyle/>
          <a:p>
            <a:endParaRPr lang="sk-SK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 bwMode="gray">
          <a:xfrm>
            <a:off x="4989925" y="927344"/>
            <a:ext cx="4398549" cy="492029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lang="sk-SK" noProof="0" dirty="0"/>
              <a:t>Tu napíšte svoj text.</a:t>
            </a:r>
          </a:p>
        </p:txBody>
      </p:sp>
      <p:sp>
        <p:nvSpPr>
          <p:cNvPr id="8" name="Rectangle 7"/>
          <p:cNvSpPr/>
          <p:nvPr/>
        </p:nvSpPr>
        <p:spPr bwMode="gray">
          <a:xfrm>
            <a:off x="385182" y="3622576"/>
            <a:ext cx="1008000" cy="1008000"/>
          </a:xfrm>
          <a:prstGeom prst="rect">
            <a:avLst/>
          </a:prstGeom>
          <a:noFill/>
          <a:ln w="12700" cap="sq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144000" bIns="144000" rtlCol="0" anchor="t"/>
          <a:lstStyle/>
          <a:p>
            <a:pPr algn="l"/>
            <a:r>
              <a:rPr lang="sk-SK" sz="1400" b="1" noProof="0" dirty="0">
                <a:solidFill>
                  <a:schemeClr val="tx1"/>
                </a:solidFill>
              </a:rPr>
              <a:t>Notes</a:t>
            </a:r>
          </a:p>
        </p:txBody>
      </p:sp>
      <p:cxnSp>
        <p:nvCxnSpPr>
          <p:cNvPr id="10" name="Gerade Verbindung 17"/>
          <p:cNvCxnSpPr/>
          <p:nvPr/>
        </p:nvCxnSpPr>
        <p:spPr bwMode="gray">
          <a:xfrm>
            <a:off x="378797" y="4864991"/>
            <a:ext cx="4401167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1" name="Gerade Verbindung 18"/>
          <p:cNvCxnSpPr/>
          <p:nvPr/>
        </p:nvCxnSpPr>
        <p:spPr bwMode="gray">
          <a:xfrm>
            <a:off x="378797" y="5108233"/>
            <a:ext cx="4401167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2" name="Gerade Verbindung 20"/>
          <p:cNvCxnSpPr/>
          <p:nvPr/>
        </p:nvCxnSpPr>
        <p:spPr bwMode="gray">
          <a:xfrm>
            <a:off x="378797" y="5351475"/>
            <a:ext cx="4401167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3" name="Gerade Verbindung 21"/>
          <p:cNvCxnSpPr/>
          <p:nvPr/>
        </p:nvCxnSpPr>
        <p:spPr bwMode="gray">
          <a:xfrm>
            <a:off x="378797" y="5594717"/>
            <a:ext cx="4401167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4" name="Gerade Verbindung 22"/>
          <p:cNvCxnSpPr/>
          <p:nvPr/>
        </p:nvCxnSpPr>
        <p:spPr bwMode="gray">
          <a:xfrm>
            <a:off x="378797" y="5837958"/>
            <a:ext cx="4401167" cy="0"/>
          </a:xfrm>
          <a:prstGeom prst="line">
            <a:avLst/>
          </a:prstGeom>
          <a:noFill/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grpSp>
        <p:nvGrpSpPr>
          <p:cNvPr id="46" name="Group 45"/>
          <p:cNvGrpSpPr/>
          <p:nvPr/>
        </p:nvGrpSpPr>
        <p:grpSpPr bwMode="gray">
          <a:xfrm>
            <a:off x="1607821" y="3634576"/>
            <a:ext cx="3171736" cy="987173"/>
            <a:chOff x="1714647" y="3634576"/>
            <a:chExt cx="3064909" cy="987173"/>
          </a:xfrm>
        </p:grpSpPr>
        <p:cxnSp>
          <p:nvCxnSpPr>
            <p:cNvPr id="15" name="Gerade Verbindung 17"/>
            <p:cNvCxnSpPr/>
            <p:nvPr/>
          </p:nvCxnSpPr>
          <p:spPr bwMode="gray">
            <a:xfrm>
              <a:off x="1714647" y="4621749"/>
              <a:ext cx="3064909" cy="0"/>
            </a:xfrm>
            <a:prstGeom prst="line">
              <a:avLst/>
            </a:prstGeom>
            <a:noFill/>
            <a:ln w="9525" cap="flat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6" name="Gerade Verbindung 17"/>
            <p:cNvCxnSpPr/>
            <p:nvPr/>
          </p:nvCxnSpPr>
          <p:spPr bwMode="gray">
            <a:xfrm>
              <a:off x="1714647" y="4374956"/>
              <a:ext cx="3064909" cy="0"/>
            </a:xfrm>
            <a:prstGeom prst="line">
              <a:avLst/>
            </a:prstGeom>
            <a:noFill/>
            <a:ln w="9525" cap="flat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7" name="Gerade Verbindung 17"/>
            <p:cNvCxnSpPr/>
            <p:nvPr/>
          </p:nvCxnSpPr>
          <p:spPr bwMode="gray">
            <a:xfrm>
              <a:off x="1714647" y="4128163"/>
              <a:ext cx="3064909" cy="0"/>
            </a:xfrm>
            <a:prstGeom prst="line">
              <a:avLst/>
            </a:prstGeom>
            <a:noFill/>
            <a:ln w="9525" cap="flat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8" name="Gerade Verbindung 17"/>
            <p:cNvCxnSpPr/>
            <p:nvPr/>
          </p:nvCxnSpPr>
          <p:spPr bwMode="gray">
            <a:xfrm>
              <a:off x="1714647" y="3881369"/>
              <a:ext cx="3064909" cy="0"/>
            </a:xfrm>
            <a:prstGeom prst="line">
              <a:avLst/>
            </a:prstGeom>
            <a:noFill/>
            <a:ln w="9525" cap="flat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9" name="Gerade Verbindung 17"/>
            <p:cNvCxnSpPr/>
            <p:nvPr/>
          </p:nvCxnSpPr>
          <p:spPr bwMode="gray">
            <a:xfrm>
              <a:off x="1714647" y="3634576"/>
              <a:ext cx="3064909" cy="0"/>
            </a:xfrm>
            <a:prstGeom prst="line">
              <a:avLst/>
            </a:prstGeom>
            <a:noFill/>
            <a:ln w="9525" cap="flat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grpSp>
        <p:nvGrpSpPr>
          <p:cNvPr id="21" name="Group 20"/>
          <p:cNvGrpSpPr/>
          <p:nvPr/>
        </p:nvGrpSpPr>
        <p:grpSpPr bwMode="gray">
          <a:xfrm>
            <a:off x="-152140" y="927343"/>
            <a:ext cx="89256" cy="4920298"/>
            <a:chOff x="-143043" y="927343"/>
            <a:chExt cx="89256" cy="4920298"/>
          </a:xfrm>
        </p:grpSpPr>
        <p:cxnSp>
          <p:nvCxnSpPr>
            <p:cNvPr id="35" name="Straight Connector 34"/>
            <p:cNvCxnSpPr/>
            <p:nvPr/>
          </p:nvCxnSpPr>
          <p:spPr bwMode="gray">
            <a:xfrm>
              <a:off x="-143043" y="927343"/>
              <a:ext cx="89256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/>
          </p:nvCxnSpPr>
          <p:spPr bwMode="gray">
            <a:xfrm>
              <a:off x="-143043" y="5847641"/>
              <a:ext cx="89256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2" name="Group 21"/>
          <p:cNvGrpSpPr/>
          <p:nvPr/>
        </p:nvGrpSpPr>
        <p:grpSpPr bwMode="gray">
          <a:xfrm>
            <a:off x="9820460" y="927343"/>
            <a:ext cx="89256" cy="4920298"/>
            <a:chOff x="-143043" y="927343"/>
            <a:chExt cx="89256" cy="4920298"/>
          </a:xfrm>
        </p:grpSpPr>
        <p:cxnSp>
          <p:nvCxnSpPr>
            <p:cNvPr id="33" name="Straight Connector 32"/>
            <p:cNvCxnSpPr/>
            <p:nvPr/>
          </p:nvCxnSpPr>
          <p:spPr bwMode="gray">
            <a:xfrm>
              <a:off x="-143043" y="927343"/>
              <a:ext cx="89256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/>
          </p:nvCxnSpPr>
          <p:spPr bwMode="gray">
            <a:xfrm>
              <a:off x="-143043" y="5847641"/>
              <a:ext cx="89256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3" name="Group 22"/>
          <p:cNvGrpSpPr/>
          <p:nvPr/>
        </p:nvGrpSpPr>
        <p:grpSpPr bwMode="gray">
          <a:xfrm rot="5400000">
            <a:off x="4843284" y="-4584084"/>
            <a:ext cx="89256" cy="9006252"/>
            <a:chOff x="-143043" y="-3176367"/>
            <a:chExt cx="89256" cy="9006252"/>
          </a:xfrm>
        </p:grpSpPr>
        <p:cxnSp>
          <p:nvCxnSpPr>
            <p:cNvPr id="29" name="Straight Connector 28"/>
            <p:cNvCxnSpPr/>
            <p:nvPr/>
          </p:nvCxnSpPr>
          <p:spPr bwMode="gray">
            <a:xfrm>
              <a:off x="-143043" y="1433025"/>
              <a:ext cx="89256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/>
          </p:nvCxnSpPr>
          <p:spPr bwMode="gray">
            <a:xfrm>
              <a:off x="-143043" y="5829885"/>
              <a:ext cx="89256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/>
          </p:nvCxnSpPr>
          <p:spPr bwMode="gray">
            <a:xfrm>
              <a:off x="-143043" y="1224745"/>
              <a:ext cx="89256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/>
          </p:nvCxnSpPr>
          <p:spPr bwMode="gray">
            <a:xfrm>
              <a:off x="-143043" y="-3176367"/>
              <a:ext cx="89256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7" name="Header Placeholder 1"/>
          <p:cNvSpPr>
            <a:spLocks noGrp="1"/>
          </p:cNvSpPr>
          <p:nvPr>
            <p:ph type="hdr" sz="quarter"/>
          </p:nvPr>
        </p:nvSpPr>
        <p:spPr bwMode="gray">
          <a:xfrm>
            <a:off x="387350" y="634244"/>
            <a:ext cx="4392207" cy="178645"/>
          </a:xfrm>
          <a:prstGeom prst="rect">
            <a:avLst/>
          </a:prstGeom>
        </p:spPr>
        <p:txBody>
          <a:bodyPr vert="horz" wrap="none" lIns="0" tIns="0" rIns="0" bIns="0" rtlCol="0" anchor="b"/>
          <a:lstStyle>
            <a:lvl1pPr algn="l">
              <a:defRPr sz="1000" b="1" cap="all" baseline="0">
                <a:solidFill>
                  <a:schemeClr val="accent4"/>
                </a:solidFill>
              </a:defRPr>
            </a:lvl1pPr>
          </a:lstStyle>
          <a:p>
            <a:endParaRPr lang="sk-SK" noProof="0" dirty="0"/>
          </a:p>
        </p:txBody>
      </p:sp>
      <p:grpSp>
        <p:nvGrpSpPr>
          <p:cNvPr id="41" name="Group 40"/>
          <p:cNvGrpSpPr/>
          <p:nvPr/>
        </p:nvGrpSpPr>
        <p:grpSpPr bwMode="gray">
          <a:xfrm rot="5400000">
            <a:off x="4843284" y="2233276"/>
            <a:ext cx="89256" cy="9006252"/>
            <a:chOff x="-143043" y="-3176367"/>
            <a:chExt cx="89256" cy="9006252"/>
          </a:xfrm>
        </p:grpSpPr>
        <p:cxnSp>
          <p:nvCxnSpPr>
            <p:cNvPr id="42" name="Straight Connector 41"/>
            <p:cNvCxnSpPr/>
            <p:nvPr/>
          </p:nvCxnSpPr>
          <p:spPr bwMode="gray">
            <a:xfrm>
              <a:off x="-143043" y="1433025"/>
              <a:ext cx="89256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/>
            <p:cNvCxnSpPr/>
            <p:nvPr/>
          </p:nvCxnSpPr>
          <p:spPr bwMode="gray">
            <a:xfrm>
              <a:off x="-143043" y="5829885"/>
              <a:ext cx="89256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/>
            <p:cNvCxnSpPr/>
            <p:nvPr/>
          </p:nvCxnSpPr>
          <p:spPr bwMode="gray">
            <a:xfrm>
              <a:off x="-143043" y="1224745"/>
              <a:ext cx="89256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/>
            <p:cNvCxnSpPr/>
            <p:nvPr/>
          </p:nvCxnSpPr>
          <p:spPr bwMode="gray">
            <a:xfrm>
              <a:off x="-143043" y="-3176367"/>
              <a:ext cx="89256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8" name="Date Placeholder 3"/>
          <p:cNvSpPr>
            <a:spLocks noGrp="1"/>
          </p:cNvSpPr>
          <p:nvPr>
            <p:ph type="dt" sz="half" idx="1"/>
          </p:nvPr>
        </p:nvSpPr>
        <p:spPr bwMode="gray">
          <a:xfrm>
            <a:off x="8416306" y="5962836"/>
            <a:ext cx="734844" cy="13605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1000">
                <a:solidFill>
                  <a:schemeClr val="accent1"/>
                </a:solidFill>
              </a:defRPr>
            </a:lvl1pPr>
          </a:lstStyle>
          <a:p>
            <a:pPr algn="ctr"/>
            <a:fld id="{853A41E7-EC4F-4ECE-8360-F7BCB6AF87FD}" type="datetime1">
              <a:rPr lang="cs-CZ" smtClean="0"/>
              <a:t>30.11.2020</a:t>
            </a:fld>
            <a:endParaRPr lang="cs-CZ" dirty="0"/>
          </a:p>
        </p:txBody>
      </p:sp>
      <p:sp>
        <p:nvSpPr>
          <p:cNvPr id="39" name="Footer Placeholder 4"/>
          <p:cNvSpPr>
            <a:spLocks noGrp="1"/>
          </p:cNvSpPr>
          <p:nvPr>
            <p:ph type="ftr" sz="quarter" idx="4"/>
          </p:nvPr>
        </p:nvSpPr>
        <p:spPr bwMode="gray">
          <a:xfrm>
            <a:off x="6292069" y="5962836"/>
            <a:ext cx="2124236" cy="13605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r">
              <a:defRPr sz="1000">
                <a:solidFill>
                  <a:schemeClr val="accent1"/>
                </a:solidFill>
              </a:defRPr>
            </a:lvl1pPr>
          </a:lstStyle>
          <a:p>
            <a:endParaRPr lang="cs-CZ" dirty="0"/>
          </a:p>
        </p:txBody>
      </p:sp>
      <p:sp>
        <p:nvSpPr>
          <p:cNvPr id="40" name="Slide Number Placeholder 5"/>
          <p:cNvSpPr>
            <a:spLocks noGrp="1"/>
          </p:cNvSpPr>
          <p:nvPr>
            <p:ph type="sldNum" sz="quarter" idx="5"/>
          </p:nvPr>
        </p:nvSpPr>
        <p:spPr bwMode="gray">
          <a:xfrm>
            <a:off x="9151150" y="5962836"/>
            <a:ext cx="611561" cy="13605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1000" b="0">
                <a:solidFill>
                  <a:schemeClr val="accent1"/>
                </a:solidFill>
              </a:defRPr>
            </a:lvl1pPr>
          </a:lstStyle>
          <a:p>
            <a:r>
              <a:rPr lang="cs-CZ">
                <a:sym typeface="Wingdings"/>
              </a:rPr>
              <a:t>  </a:t>
            </a:r>
            <a:fld id="{443B15C8-972D-49F6-9B7C-5A2154A8C95F}" type="slidenum">
              <a:rPr lang="cs-CZ" smtClean="0"/>
              <a:pPr/>
              <a:t>‹#›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1267397174"/>
      </p:ext>
    </p:extLst>
  </p:cSld>
  <p:clrMap bg1="lt1" tx1="dk1" bg2="lt2" tx2="dk2" accent1="accent1" accent2="accent2" accent3="accent3" accent4="accent4" accent5="accent5" accent6="accent6" hlink="hlink" folHlink="folHlink"/>
  <p:hf hdr="0"/>
  <p:notesStyle>
    <a:lvl1pPr marL="0" marR="0" indent="0" algn="l" defTabSz="914400" rtl="0" eaLnBrk="1" fontAlgn="auto" latinLnBrk="0" hangingPunct="1">
      <a:lnSpc>
        <a:spcPct val="110000"/>
      </a:lnSpc>
      <a:spcBef>
        <a:spcPts val="200"/>
      </a:spcBef>
      <a:spcAft>
        <a:spcPts val="200"/>
      </a:spcAft>
      <a:buClrTx/>
      <a:buSzTx/>
      <a:buFontTx/>
      <a:buNone/>
      <a:tabLst/>
      <a:defRPr sz="1000" kern="1200" baseline="0">
        <a:solidFill>
          <a:schemeClr val="tx1"/>
        </a:solidFill>
        <a:latin typeface="+mn-lt"/>
        <a:ea typeface="+mn-ea"/>
        <a:cs typeface="+mn-cs"/>
      </a:defRPr>
    </a:lvl1pPr>
    <a:lvl2pPr marL="180000" indent="-180000" algn="l" defTabSz="914400" rtl="0" eaLnBrk="1" latinLnBrk="0" hangingPunct="1">
      <a:lnSpc>
        <a:spcPct val="110000"/>
      </a:lnSpc>
      <a:spcBef>
        <a:spcPts val="200"/>
      </a:spcBef>
      <a:spcAft>
        <a:spcPts val="200"/>
      </a:spcAft>
      <a:buClr>
        <a:schemeClr val="accent1"/>
      </a:buClr>
      <a:buFont typeface="Kaufland Office" panose="020B0503040000020003" pitchFamily="34" charset="0"/>
      <a:buChar char="−"/>
      <a:defRPr sz="1000" kern="1200">
        <a:solidFill>
          <a:schemeClr val="tx1"/>
        </a:solidFill>
        <a:latin typeface="+mn-lt"/>
        <a:ea typeface="+mn-ea"/>
        <a:cs typeface="+mn-cs"/>
      </a:defRPr>
    </a:lvl2pPr>
    <a:lvl3pPr marL="360000" indent="-180000" algn="l" defTabSz="914400" rtl="0" eaLnBrk="1" latinLnBrk="0" hangingPunct="1">
      <a:lnSpc>
        <a:spcPct val="110000"/>
      </a:lnSpc>
      <a:spcBef>
        <a:spcPts val="200"/>
      </a:spcBef>
      <a:spcAft>
        <a:spcPts val="200"/>
      </a:spcAft>
      <a:buClr>
        <a:schemeClr val="accent1"/>
      </a:buClr>
      <a:buFont typeface="Arial" panose="020B0604020202020204" pitchFamily="34" charset="0"/>
      <a:buChar char="−"/>
      <a:defRPr sz="1000" kern="1200">
        <a:solidFill>
          <a:schemeClr val="tx1"/>
        </a:solidFill>
        <a:latin typeface="+mn-lt"/>
        <a:ea typeface="+mn-ea"/>
        <a:cs typeface="+mn-cs"/>
      </a:defRPr>
    </a:lvl3pPr>
    <a:lvl4pPr marL="180000" indent="-180000" algn="l" defTabSz="914400" rtl="0" eaLnBrk="1" latinLnBrk="0" hangingPunct="1">
      <a:lnSpc>
        <a:spcPct val="110000"/>
      </a:lnSpc>
      <a:spcBef>
        <a:spcPts val="200"/>
      </a:spcBef>
      <a:spcAft>
        <a:spcPts val="200"/>
      </a:spcAft>
      <a:buClr>
        <a:schemeClr val="accent1"/>
      </a:buClr>
      <a:buSzPct val="90000"/>
      <a:buFont typeface="+mj-lt"/>
      <a:buAutoNum type="arabicPeriod"/>
      <a:defRPr sz="1000" kern="1200">
        <a:solidFill>
          <a:schemeClr val="tx1"/>
        </a:solidFill>
        <a:latin typeface="+mn-lt"/>
        <a:ea typeface="+mn-ea"/>
        <a:cs typeface="+mn-cs"/>
      </a:defRPr>
    </a:lvl4pPr>
    <a:lvl5pPr marL="360000" indent="-180000" algn="l" defTabSz="914400" rtl="0" eaLnBrk="1" latinLnBrk="0" hangingPunct="1">
      <a:lnSpc>
        <a:spcPct val="110000"/>
      </a:lnSpc>
      <a:spcBef>
        <a:spcPts val="200"/>
      </a:spcBef>
      <a:spcAft>
        <a:spcPts val="200"/>
      </a:spcAft>
      <a:buClr>
        <a:schemeClr val="accent1"/>
      </a:buClr>
      <a:buSzPct val="90000"/>
      <a:buFont typeface="+mj-lt"/>
      <a:buAutoNum type="alphaLcPeriod"/>
      <a:defRPr sz="1000" kern="1200">
        <a:solidFill>
          <a:schemeClr val="tx1"/>
        </a:solidFill>
        <a:latin typeface="+mn-lt"/>
        <a:ea typeface="+mn-ea"/>
        <a:cs typeface="+mn-cs"/>
      </a:defRPr>
    </a:lvl5pPr>
    <a:lvl6pPr marL="0" indent="0" algn="l" defTabSz="914400" rtl="0" eaLnBrk="1" latinLnBrk="0" hangingPunct="1">
      <a:lnSpc>
        <a:spcPct val="110000"/>
      </a:lnSpc>
      <a:spcBef>
        <a:spcPts val="200"/>
      </a:spcBef>
      <a:spcAft>
        <a:spcPts val="200"/>
      </a:spcAft>
      <a:defRPr sz="1200" b="1" kern="1200" cap="all" baseline="0">
        <a:solidFill>
          <a:schemeClr val="accent4"/>
        </a:solidFill>
        <a:latin typeface="+mn-lt"/>
        <a:ea typeface="+mn-ea"/>
        <a:cs typeface="+mn-cs"/>
      </a:defRPr>
    </a:lvl6pPr>
    <a:lvl7pPr marL="0" indent="0" algn="l" defTabSz="914400" rtl="0" eaLnBrk="1" latinLnBrk="0" hangingPunct="1">
      <a:lnSpc>
        <a:spcPct val="110000"/>
      </a:lnSpc>
      <a:spcBef>
        <a:spcPts val="200"/>
      </a:spcBef>
      <a:spcAft>
        <a:spcPts val="200"/>
      </a:spcAft>
      <a:defRPr sz="1200" b="1" kern="1200" cap="all" baseline="0">
        <a:solidFill>
          <a:schemeClr val="accent1"/>
        </a:solidFill>
        <a:latin typeface="+mn-lt"/>
        <a:ea typeface="+mn-ea"/>
        <a:cs typeface="+mn-cs"/>
      </a:defRPr>
    </a:lvl7pPr>
    <a:lvl8pPr marL="0" indent="0" algn="l" defTabSz="914400" rtl="0" eaLnBrk="1" latinLnBrk="0" hangingPunct="1">
      <a:lnSpc>
        <a:spcPct val="110000"/>
      </a:lnSpc>
      <a:spcBef>
        <a:spcPts val="200"/>
      </a:spcBef>
      <a:spcAft>
        <a:spcPts val="200"/>
      </a:spcAft>
      <a:defRPr sz="1200" b="1" kern="1200" cap="all" baseline="0">
        <a:solidFill>
          <a:schemeClr val="bg2"/>
        </a:solidFill>
        <a:latin typeface="+mn-lt"/>
        <a:ea typeface="+mn-ea"/>
        <a:cs typeface="+mn-cs"/>
      </a:defRPr>
    </a:lvl8pPr>
    <a:lvl9pPr marL="0" indent="0" algn="l" defTabSz="914400" rtl="0" eaLnBrk="1" latinLnBrk="0" hangingPunct="1">
      <a:lnSpc>
        <a:spcPct val="110000"/>
      </a:lnSpc>
      <a:spcBef>
        <a:spcPts val="200"/>
      </a:spcBef>
      <a:spcAft>
        <a:spcPts val="200"/>
      </a:spcAft>
      <a:defRPr sz="8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79413" y="927100"/>
            <a:ext cx="4400550" cy="24765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4995863" y="6153619"/>
            <a:ext cx="3633787" cy="143551"/>
          </a:xfrm>
          <a:prstGeom prst="rect">
            <a:avLst/>
          </a:prstGeom>
        </p:spPr>
        <p:txBody>
          <a:bodyPr/>
          <a:lstStyle/>
          <a:p>
            <a:r>
              <a:rPr lang="de-DE" noProof="0"/>
              <a:t>Kaufland</a:t>
            </a:r>
            <a:endParaRPr lang="de-DE" noProof="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9315370" y="6153619"/>
            <a:ext cx="234814" cy="143551"/>
          </a:xfrm>
          <a:prstGeom prst="rect">
            <a:avLst/>
          </a:prstGeom>
        </p:spPr>
        <p:txBody>
          <a:bodyPr/>
          <a:lstStyle/>
          <a:p>
            <a:r>
              <a:rPr lang="de-DE" noProof="0">
                <a:sym typeface="Wingdings"/>
              </a:rPr>
              <a:t>  </a:t>
            </a:r>
            <a:fld id="{A155C997-1351-4768-9DEA-B5D9CA903BD3}" type="slidenum">
              <a:rPr lang="de-DE" noProof="0" smtClean="0"/>
              <a:pPr/>
              <a:t>1</a:t>
            </a:fld>
            <a:endParaRPr lang="de-DE" noProof="0" dirty="0"/>
          </a:p>
        </p:txBody>
      </p:sp>
      <p:sp>
        <p:nvSpPr>
          <p:cNvPr id="8" name="Datumsplatzhalter 7"/>
          <p:cNvSpPr>
            <a:spLocks noGrp="1"/>
          </p:cNvSpPr>
          <p:nvPr>
            <p:ph type="dt" idx="13"/>
          </p:nvPr>
        </p:nvSpPr>
        <p:spPr>
          <a:xfrm>
            <a:off x="8631094" y="6153619"/>
            <a:ext cx="684276" cy="143551"/>
          </a:xfrm>
          <a:prstGeom prst="rect">
            <a:avLst/>
          </a:prstGeom>
        </p:spPr>
        <p:txBody>
          <a:bodyPr/>
          <a:lstStyle/>
          <a:p>
            <a:fld id="{CF561724-52E7-441B-A6EB-69D37A5999FA}" type="datetime1">
              <a:rPr lang="cs-CZ" noProof="0" smtClean="0"/>
              <a:t>30.11.2020</a:t>
            </a:fld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159533409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79413" y="927100"/>
            <a:ext cx="4400550" cy="24765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4995863" y="6153619"/>
            <a:ext cx="3633787" cy="143551"/>
          </a:xfrm>
          <a:prstGeom prst="rect">
            <a:avLst/>
          </a:prstGeom>
        </p:spPr>
        <p:txBody>
          <a:bodyPr/>
          <a:lstStyle/>
          <a:p>
            <a:r>
              <a:rPr lang="de-DE" noProof="0"/>
              <a:t>Kaufland</a:t>
            </a:r>
            <a:endParaRPr lang="de-DE" noProof="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9315370" y="6153619"/>
            <a:ext cx="234814" cy="143551"/>
          </a:xfrm>
          <a:prstGeom prst="rect">
            <a:avLst/>
          </a:prstGeom>
        </p:spPr>
        <p:txBody>
          <a:bodyPr/>
          <a:lstStyle/>
          <a:p>
            <a:r>
              <a:rPr lang="de-DE" noProof="0">
                <a:sym typeface="Wingdings"/>
              </a:rPr>
              <a:t>  </a:t>
            </a:r>
            <a:fld id="{A155C997-1351-4768-9DEA-B5D9CA903BD3}" type="slidenum">
              <a:rPr lang="de-DE" noProof="0" smtClean="0"/>
              <a:pPr/>
              <a:t>2</a:t>
            </a:fld>
            <a:endParaRPr lang="de-DE" noProof="0" dirty="0"/>
          </a:p>
        </p:txBody>
      </p:sp>
      <p:sp>
        <p:nvSpPr>
          <p:cNvPr id="8" name="Datumsplatzhalter 7"/>
          <p:cNvSpPr>
            <a:spLocks noGrp="1"/>
          </p:cNvSpPr>
          <p:nvPr>
            <p:ph type="dt" idx="13"/>
          </p:nvPr>
        </p:nvSpPr>
        <p:spPr>
          <a:xfrm>
            <a:off x="8631094" y="6153619"/>
            <a:ext cx="684276" cy="143551"/>
          </a:xfrm>
          <a:prstGeom prst="rect">
            <a:avLst/>
          </a:prstGeom>
        </p:spPr>
        <p:txBody>
          <a:bodyPr/>
          <a:lstStyle/>
          <a:p>
            <a:fld id="{7B9B2F4E-DDED-4B53-96B4-31E8172B08AA}" type="datetime1">
              <a:rPr lang="cs-CZ" noProof="0" smtClean="0"/>
              <a:t>30.11.2020</a:t>
            </a:fld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159533409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79413" y="927100"/>
            <a:ext cx="4400550" cy="24765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sk-SK" dirty="0" err="1"/>
              <a:t>Lubi</a:t>
            </a:r>
            <a:r>
              <a:rPr lang="sk-SK" dirty="0"/>
              <a:t> tým, že tento rok bola </a:t>
            </a:r>
            <a:r>
              <a:rPr lang="sk-SK" dirty="0" err="1"/>
              <a:t>korona</a:t>
            </a:r>
            <a:r>
              <a:rPr lang="sk-SK" dirty="0"/>
              <a:t> nemohli sme uskutočniť </a:t>
            </a:r>
            <a:r>
              <a:rPr lang="sk-SK" dirty="0" err="1"/>
              <a:t>presstrip</a:t>
            </a:r>
            <a:r>
              <a:rPr lang="sk-SK" dirty="0"/>
              <a:t> tak ako minulý rok. Preto také krátke podklady. </a:t>
            </a:r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>
          <a:xfrm>
            <a:off x="4995863" y="6153619"/>
            <a:ext cx="3633787" cy="143551"/>
          </a:xfrm>
          <a:prstGeom prst="rect">
            <a:avLst/>
          </a:prstGeom>
        </p:spPr>
        <p:txBody>
          <a:bodyPr/>
          <a:lstStyle/>
          <a:p>
            <a:r>
              <a:rPr lang="de-DE" noProof="0"/>
              <a:t>Kaufland</a:t>
            </a:r>
            <a:endParaRPr lang="de-DE" noProof="0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>
          <a:xfrm>
            <a:off x="9315370" y="6153619"/>
            <a:ext cx="234814" cy="143551"/>
          </a:xfrm>
          <a:prstGeom prst="rect">
            <a:avLst/>
          </a:prstGeom>
        </p:spPr>
        <p:txBody>
          <a:bodyPr/>
          <a:lstStyle/>
          <a:p>
            <a:r>
              <a:rPr lang="de-DE" noProof="0">
                <a:sym typeface="Wingdings"/>
              </a:rPr>
              <a:t>  </a:t>
            </a:r>
            <a:fld id="{A155C997-1351-4768-9DEA-B5D9CA903BD3}" type="slidenum">
              <a:rPr lang="de-DE" noProof="0" smtClean="0"/>
              <a:pPr/>
              <a:t>17</a:t>
            </a:fld>
            <a:endParaRPr lang="de-DE" noProof="0" dirty="0"/>
          </a:p>
        </p:txBody>
      </p:sp>
      <p:sp>
        <p:nvSpPr>
          <p:cNvPr id="8" name="Datumsplatzhalter 7"/>
          <p:cNvSpPr>
            <a:spLocks noGrp="1"/>
          </p:cNvSpPr>
          <p:nvPr>
            <p:ph type="dt" idx="13"/>
          </p:nvPr>
        </p:nvSpPr>
        <p:spPr>
          <a:xfrm>
            <a:off x="8631094" y="6153619"/>
            <a:ext cx="684276" cy="143551"/>
          </a:xfrm>
          <a:prstGeom prst="rect">
            <a:avLst/>
          </a:prstGeom>
        </p:spPr>
        <p:txBody>
          <a:bodyPr/>
          <a:lstStyle/>
          <a:p>
            <a:fld id="{0615BE8A-3AF4-4875-B34E-2586E57EBC9D}" type="datetime1">
              <a:rPr lang="cs-CZ" noProof="0" smtClean="0"/>
              <a:t>30.11.2020</a:t>
            </a:fld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373144826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objekt pre obrázok snímky 1"/>
          <p:cNvSpPr>
            <a:spLocks noGrp="1" noRot="1" noChangeAspect="1"/>
          </p:cNvSpPr>
          <p:nvPr>
            <p:ph type="sldImg"/>
          </p:nvPr>
        </p:nvSpPr>
        <p:spPr>
          <a:xfrm>
            <a:off x="379413" y="927100"/>
            <a:ext cx="4400550" cy="2476500"/>
          </a:xfrm>
        </p:spPr>
      </p:sp>
      <p:sp>
        <p:nvSpPr>
          <p:cNvPr id="3" name="Zástupný objekt pre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sk-SK" dirty="0" err="1"/>
              <a:t>Lubi</a:t>
            </a:r>
            <a:r>
              <a:rPr lang="sk-SK" dirty="0"/>
              <a:t> tento rok sme z OZ mali len jednu tému. Ak aj do budúcna máte zaujímavých pestovateľov alebo odrody, vieme zaradiť do reportáže. </a:t>
            </a:r>
          </a:p>
        </p:txBody>
      </p:sp>
      <p:sp>
        <p:nvSpPr>
          <p:cNvPr id="4" name="Zástupný objekt pre dátum 3"/>
          <p:cNvSpPr>
            <a:spLocks noGrp="1"/>
          </p:cNvSpPr>
          <p:nvPr>
            <p:ph type="dt" sz="half" idx="1"/>
          </p:nvPr>
        </p:nvSpPr>
        <p:spPr/>
        <p:txBody>
          <a:bodyPr/>
          <a:lstStyle/>
          <a:p>
            <a:pPr algn="ctr"/>
            <a:fld id="{853A41E7-EC4F-4ECE-8360-F7BCB6AF87FD}" type="datetime1">
              <a:rPr lang="cs-CZ" smtClean="0"/>
              <a:t>30.11.2020</a:t>
            </a:fld>
            <a:endParaRPr lang="cs-CZ" dirty="0"/>
          </a:p>
        </p:txBody>
      </p:sp>
      <p:sp>
        <p:nvSpPr>
          <p:cNvPr id="5" name="Zástupný objekt pre pätu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6" name="Zástupný objekt pre číslo snímky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cs-CZ">
                <a:sym typeface="Wingdings"/>
              </a:rPr>
              <a:t>  </a:t>
            </a:r>
            <a:fld id="{443B15C8-972D-49F6-9B7C-5A2154A8C95F}" type="slidenum">
              <a:rPr lang="cs-CZ" smtClean="0"/>
              <a:pPr/>
              <a:t>19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132648498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Úvodná snímk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0835176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213" name="think-cell Folie" r:id="rId4" imgW="245" imgH="245" progId="TCLayout.ActiveDocument.1">
                  <p:embed/>
                </p:oleObj>
              </mc:Choice>
              <mc:Fallback>
                <p:oleObj name="think-cell Folie" r:id="rId4" imgW="245" imgH="2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 userDrawn="1">
            <p:ph type="ctrTitle" hasCustomPrompt="1"/>
          </p:nvPr>
        </p:nvSpPr>
        <p:spPr bwMode="gray">
          <a:xfrm>
            <a:off x="773357" y="2008981"/>
            <a:ext cx="4770193" cy="1609225"/>
          </a:xfrm>
          <a:solidFill>
            <a:schemeClr val="accent4"/>
          </a:solidFill>
        </p:spPr>
        <p:txBody>
          <a:bodyPr lIns="180000" tIns="144000" rIns="180000" bIns="144000">
            <a:noAutofit/>
          </a:bodyPr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sk-SK" noProof="0" dirty="0"/>
              <a:t>Názov prezentácie – maximálne 2 riadky</a:t>
            </a:r>
          </a:p>
        </p:txBody>
      </p:sp>
      <p:sp>
        <p:nvSpPr>
          <p:cNvPr id="28" name="Subtitle 2"/>
          <p:cNvSpPr>
            <a:spLocks noGrp="1"/>
          </p:cNvSpPr>
          <p:nvPr userDrawn="1">
            <p:ph type="subTitle" idx="1" hasCustomPrompt="1"/>
          </p:nvPr>
        </p:nvSpPr>
        <p:spPr bwMode="gray">
          <a:xfrm>
            <a:off x="773356" y="3075807"/>
            <a:ext cx="4770193" cy="542400"/>
          </a:xfrm>
        </p:spPr>
        <p:txBody>
          <a:bodyPr lIns="180000" tIns="108000" rIns="180000" bIns="108000" anchor="b"/>
          <a:lstStyle>
            <a:lvl1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1200" cap="all" baseline="0">
                <a:solidFill>
                  <a:schemeClr val="bg1"/>
                </a:solidFill>
              </a:defRPr>
            </a:lvl1pPr>
            <a:lvl2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1200" b="0" cap="all">
                <a:solidFill>
                  <a:schemeClr val="bg1"/>
                </a:solidFill>
              </a:defRPr>
            </a:lvl2pPr>
            <a:lvl3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1200" b="0" cap="all">
                <a:solidFill>
                  <a:schemeClr val="bg1"/>
                </a:solidFill>
              </a:defRPr>
            </a:lvl3pPr>
            <a:lvl4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1200" b="0" cap="all">
                <a:solidFill>
                  <a:schemeClr val="bg1"/>
                </a:solidFill>
              </a:defRPr>
            </a:lvl4pPr>
            <a:lvl5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1200" b="0" cap="all">
                <a:solidFill>
                  <a:schemeClr val="bg1"/>
                </a:solidFill>
              </a:defRPr>
            </a:lvl5pPr>
            <a:lvl6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1200" b="0" cap="all">
                <a:solidFill>
                  <a:schemeClr val="bg1"/>
                </a:solidFill>
              </a:defRPr>
            </a:lvl6pPr>
            <a:lvl7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1200" b="0" cap="all">
                <a:solidFill>
                  <a:schemeClr val="bg1"/>
                </a:solidFill>
              </a:defRPr>
            </a:lvl7pPr>
            <a:lvl8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1200" b="0" cap="all">
                <a:solidFill>
                  <a:schemeClr val="bg1"/>
                </a:solidFill>
              </a:defRPr>
            </a:lvl8pPr>
            <a:lvl9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1200" b="0" cap="all">
                <a:solidFill>
                  <a:schemeClr val="bg1"/>
                </a:solidFill>
              </a:defRPr>
            </a:lvl9pPr>
          </a:lstStyle>
          <a:p>
            <a:pPr lvl="0"/>
            <a:r>
              <a:rPr lang="sk-SK" noProof="0" dirty="0"/>
              <a:t>PODNADPIS PODĽA POTREBY</a:t>
            </a:r>
            <a:br>
              <a:rPr lang="sk-SK" noProof="0" dirty="0"/>
            </a:br>
            <a:r>
              <a:rPr lang="sk-SK" noProof="0" dirty="0"/>
              <a:t>AUTOR, MIESTO, DÁTUM</a:t>
            </a:r>
          </a:p>
        </p:txBody>
      </p:sp>
      <p:sp>
        <p:nvSpPr>
          <p:cNvPr id="22" name="ClipArt Placeholder 88"/>
          <p:cNvSpPr>
            <a:spLocks noGrp="1"/>
          </p:cNvSpPr>
          <p:nvPr>
            <p:ph type="clipArt" sz="quarter" idx="13" hasCustomPrompt="1"/>
          </p:nvPr>
        </p:nvSpPr>
        <p:spPr bwMode="gray">
          <a:xfrm>
            <a:off x="0" y="1232694"/>
            <a:ext cx="630000" cy="630000"/>
          </a:xfrm>
          <a:solidFill>
            <a:schemeClr val="accent4"/>
          </a:solidFill>
        </p:spPr>
        <p:txBody>
          <a:bodyPr anchor="ctr"/>
          <a:lstStyle>
            <a:lvl1pPr algn="ctr">
              <a:defRPr sz="800" b="0" i="1">
                <a:solidFill>
                  <a:schemeClr val="bg1"/>
                </a:solidFill>
              </a:defRPr>
            </a:lvl1pPr>
          </a:lstStyle>
          <a:p>
            <a:r>
              <a:rPr lang="sk-SK" noProof="0" dirty="0"/>
              <a:t>Tu doplňte</a:t>
            </a:r>
            <a:br>
              <a:rPr lang="sk-SK" noProof="0" dirty="0"/>
            </a:br>
            <a:r>
              <a:rPr lang="sk-SK" noProof="0" dirty="0"/>
              <a:t>svoju ikonu</a:t>
            </a:r>
          </a:p>
        </p:txBody>
      </p:sp>
      <p:grpSp>
        <p:nvGrpSpPr>
          <p:cNvPr id="137" name="Gruppieren 136"/>
          <p:cNvGrpSpPr/>
          <p:nvPr userDrawn="1"/>
        </p:nvGrpSpPr>
        <p:grpSpPr>
          <a:xfrm>
            <a:off x="7750850" y="109788"/>
            <a:ext cx="1285200" cy="1285200"/>
            <a:chOff x="-3889375" y="0"/>
            <a:chExt cx="3600450" cy="3600450"/>
          </a:xfrm>
        </p:grpSpPr>
        <p:sp>
          <p:nvSpPr>
            <p:cNvPr id="138" name="AutoShape 169"/>
            <p:cNvSpPr>
              <a:spLocks noChangeAspect="1" noChangeArrowheads="1" noTextEdit="1"/>
            </p:cNvSpPr>
            <p:nvPr userDrawn="1"/>
          </p:nvSpPr>
          <p:spPr bwMode="auto">
            <a:xfrm>
              <a:off x="-3889375" y="0"/>
              <a:ext cx="3600450" cy="36004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sk-SK" noProof="0" dirty="0"/>
            </a:p>
          </p:txBody>
        </p:sp>
        <p:sp>
          <p:nvSpPr>
            <p:cNvPr id="139" name="Freeform 171"/>
            <p:cNvSpPr>
              <a:spLocks/>
            </p:cNvSpPr>
            <p:nvPr userDrawn="1"/>
          </p:nvSpPr>
          <p:spPr bwMode="auto">
            <a:xfrm>
              <a:off x="-3889375" y="0"/>
              <a:ext cx="3600450" cy="3600450"/>
            </a:xfrm>
            <a:custGeom>
              <a:avLst/>
              <a:gdLst>
                <a:gd name="T0" fmla="*/ 2268 w 2268"/>
                <a:gd name="T1" fmla="*/ 0 h 2268"/>
                <a:gd name="T2" fmla="*/ 0 w 2268"/>
                <a:gd name="T3" fmla="*/ 0 h 2268"/>
                <a:gd name="T4" fmla="*/ 0 w 2268"/>
                <a:gd name="T5" fmla="*/ 2268 h 2268"/>
                <a:gd name="T6" fmla="*/ 2268 w 2268"/>
                <a:gd name="T7" fmla="*/ 2268 h 2268"/>
                <a:gd name="T8" fmla="*/ 2268 w 2268"/>
                <a:gd name="T9" fmla="*/ 0 h 2268"/>
                <a:gd name="T10" fmla="*/ 2268 w 2268"/>
                <a:gd name="T11" fmla="*/ 0 h 22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68" h="2268">
                  <a:moveTo>
                    <a:pt x="2268" y="0"/>
                  </a:moveTo>
                  <a:lnTo>
                    <a:pt x="0" y="0"/>
                  </a:lnTo>
                  <a:lnTo>
                    <a:pt x="0" y="2268"/>
                  </a:lnTo>
                  <a:lnTo>
                    <a:pt x="2268" y="2268"/>
                  </a:lnTo>
                  <a:lnTo>
                    <a:pt x="2268" y="0"/>
                  </a:lnTo>
                  <a:lnTo>
                    <a:pt x="2268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sk-SK" noProof="0" dirty="0"/>
            </a:p>
          </p:txBody>
        </p:sp>
        <p:sp>
          <p:nvSpPr>
            <p:cNvPr id="140" name="Freeform 172"/>
            <p:cNvSpPr>
              <a:spLocks noEditPoints="1"/>
            </p:cNvSpPr>
            <p:nvPr userDrawn="1"/>
          </p:nvSpPr>
          <p:spPr bwMode="auto">
            <a:xfrm>
              <a:off x="-3752850" y="138113"/>
              <a:ext cx="3327400" cy="3325813"/>
            </a:xfrm>
            <a:custGeom>
              <a:avLst/>
              <a:gdLst>
                <a:gd name="T0" fmla="*/ 0 w 2096"/>
                <a:gd name="T1" fmla="*/ 0 h 2095"/>
                <a:gd name="T2" fmla="*/ 0 w 2096"/>
                <a:gd name="T3" fmla="*/ 2095 h 2095"/>
                <a:gd name="T4" fmla="*/ 2096 w 2096"/>
                <a:gd name="T5" fmla="*/ 2095 h 2095"/>
                <a:gd name="T6" fmla="*/ 2096 w 2096"/>
                <a:gd name="T7" fmla="*/ 0 h 2095"/>
                <a:gd name="T8" fmla="*/ 0 w 2096"/>
                <a:gd name="T9" fmla="*/ 0 h 2095"/>
                <a:gd name="T10" fmla="*/ 2009 w 2096"/>
                <a:gd name="T11" fmla="*/ 2008 h 2095"/>
                <a:gd name="T12" fmla="*/ 87 w 2096"/>
                <a:gd name="T13" fmla="*/ 2008 h 2095"/>
                <a:gd name="T14" fmla="*/ 87 w 2096"/>
                <a:gd name="T15" fmla="*/ 86 h 2095"/>
                <a:gd name="T16" fmla="*/ 2009 w 2096"/>
                <a:gd name="T17" fmla="*/ 86 h 2095"/>
                <a:gd name="T18" fmla="*/ 2009 w 2096"/>
                <a:gd name="T19" fmla="*/ 2008 h 20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096" h="2095">
                  <a:moveTo>
                    <a:pt x="0" y="0"/>
                  </a:moveTo>
                  <a:lnTo>
                    <a:pt x="0" y="2095"/>
                  </a:lnTo>
                  <a:lnTo>
                    <a:pt x="2096" y="2095"/>
                  </a:lnTo>
                  <a:lnTo>
                    <a:pt x="2096" y="0"/>
                  </a:lnTo>
                  <a:lnTo>
                    <a:pt x="0" y="0"/>
                  </a:lnTo>
                  <a:close/>
                  <a:moveTo>
                    <a:pt x="2009" y="2008"/>
                  </a:moveTo>
                  <a:lnTo>
                    <a:pt x="87" y="2008"/>
                  </a:lnTo>
                  <a:lnTo>
                    <a:pt x="87" y="86"/>
                  </a:lnTo>
                  <a:lnTo>
                    <a:pt x="2009" y="86"/>
                  </a:lnTo>
                  <a:lnTo>
                    <a:pt x="2009" y="2008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sk-SK" noProof="0" dirty="0"/>
            </a:p>
          </p:txBody>
        </p:sp>
        <p:sp>
          <p:nvSpPr>
            <p:cNvPr id="141" name="Rectangle 173"/>
            <p:cNvSpPr>
              <a:spLocks noChangeArrowheads="1"/>
            </p:cNvSpPr>
            <p:nvPr userDrawn="1"/>
          </p:nvSpPr>
          <p:spPr bwMode="auto">
            <a:xfrm>
              <a:off x="-2705100" y="1443038"/>
              <a:ext cx="608013" cy="608013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sk-SK" noProof="0" dirty="0"/>
            </a:p>
          </p:txBody>
        </p:sp>
        <p:sp>
          <p:nvSpPr>
            <p:cNvPr id="142" name="Freeform 174"/>
            <p:cNvSpPr>
              <a:spLocks/>
            </p:cNvSpPr>
            <p:nvPr userDrawn="1"/>
          </p:nvSpPr>
          <p:spPr bwMode="auto">
            <a:xfrm>
              <a:off x="-2005013" y="1441450"/>
              <a:ext cx="608013" cy="609600"/>
            </a:xfrm>
            <a:custGeom>
              <a:avLst/>
              <a:gdLst>
                <a:gd name="T0" fmla="*/ 0 w 383"/>
                <a:gd name="T1" fmla="*/ 0 h 384"/>
                <a:gd name="T2" fmla="*/ 0 w 383"/>
                <a:gd name="T3" fmla="*/ 384 h 384"/>
                <a:gd name="T4" fmla="*/ 383 w 383"/>
                <a:gd name="T5" fmla="*/ 384 h 384"/>
                <a:gd name="T6" fmla="*/ 0 w 383"/>
                <a:gd name="T7" fmla="*/ 0 h 3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83" h="384">
                  <a:moveTo>
                    <a:pt x="0" y="0"/>
                  </a:moveTo>
                  <a:lnTo>
                    <a:pt x="0" y="384"/>
                  </a:lnTo>
                  <a:lnTo>
                    <a:pt x="383" y="38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sk-SK" noProof="0" dirty="0"/>
            </a:p>
          </p:txBody>
        </p:sp>
        <p:sp>
          <p:nvSpPr>
            <p:cNvPr id="143" name="Rectangle 175"/>
            <p:cNvSpPr>
              <a:spLocks noChangeArrowheads="1"/>
            </p:cNvSpPr>
            <p:nvPr userDrawn="1"/>
          </p:nvSpPr>
          <p:spPr bwMode="auto">
            <a:xfrm>
              <a:off x="-2705100" y="742950"/>
              <a:ext cx="608013" cy="608013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sk-SK" noProof="0" dirty="0"/>
            </a:p>
          </p:txBody>
        </p:sp>
        <p:sp>
          <p:nvSpPr>
            <p:cNvPr id="144" name="Freeform 176"/>
            <p:cNvSpPr>
              <a:spLocks/>
            </p:cNvSpPr>
            <p:nvPr userDrawn="1"/>
          </p:nvSpPr>
          <p:spPr bwMode="auto">
            <a:xfrm>
              <a:off x="-2005013" y="742950"/>
              <a:ext cx="608013" cy="608013"/>
            </a:xfrm>
            <a:custGeom>
              <a:avLst/>
              <a:gdLst>
                <a:gd name="T0" fmla="*/ 0 w 383"/>
                <a:gd name="T1" fmla="*/ 0 h 383"/>
                <a:gd name="T2" fmla="*/ 0 w 383"/>
                <a:gd name="T3" fmla="*/ 383 h 383"/>
                <a:gd name="T4" fmla="*/ 383 w 383"/>
                <a:gd name="T5" fmla="*/ 0 h 383"/>
                <a:gd name="T6" fmla="*/ 0 w 383"/>
                <a:gd name="T7" fmla="*/ 0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83" h="383">
                  <a:moveTo>
                    <a:pt x="0" y="0"/>
                  </a:moveTo>
                  <a:lnTo>
                    <a:pt x="0" y="383"/>
                  </a:lnTo>
                  <a:lnTo>
                    <a:pt x="383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sk-SK" noProof="0" dirty="0"/>
            </a:p>
          </p:txBody>
        </p:sp>
        <p:sp>
          <p:nvSpPr>
            <p:cNvPr id="145" name="Freeform 177"/>
            <p:cNvSpPr>
              <a:spLocks/>
            </p:cNvSpPr>
            <p:nvPr userDrawn="1"/>
          </p:nvSpPr>
          <p:spPr bwMode="auto">
            <a:xfrm>
              <a:off x="-3346450" y="2409825"/>
              <a:ext cx="358775" cy="441325"/>
            </a:xfrm>
            <a:custGeom>
              <a:avLst/>
              <a:gdLst>
                <a:gd name="T0" fmla="*/ 224 w 226"/>
                <a:gd name="T1" fmla="*/ 0 h 278"/>
                <a:gd name="T2" fmla="*/ 154 w 226"/>
                <a:gd name="T3" fmla="*/ 0 h 278"/>
                <a:gd name="T4" fmla="*/ 62 w 226"/>
                <a:gd name="T5" fmla="*/ 128 h 278"/>
                <a:gd name="T6" fmla="*/ 62 w 226"/>
                <a:gd name="T7" fmla="*/ 0 h 278"/>
                <a:gd name="T8" fmla="*/ 0 w 226"/>
                <a:gd name="T9" fmla="*/ 0 h 278"/>
                <a:gd name="T10" fmla="*/ 0 w 226"/>
                <a:gd name="T11" fmla="*/ 278 h 278"/>
                <a:gd name="T12" fmla="*/ 62 w 226"/>
                <a:gd name="T13" fmla="*/ 278 h 278"/>
                <a:gd name="T14" fmla="*/ 62 w 226"/>
                <a:gd name="T15" fmla="*/ 153 h 278"/>
                <a:gd name="T16" fmla="*/ 154 w 226"/>
                <a:gd name="T17" fmla="*/ 278 h 278"/>
                <a:gd name="T18" fmla="*/ 226 w 226"/>
                <a:gd name="T19" fmla="*/ 278 h 278"/>
                <a:gd name="T20" fmla="*/ 119 w 226"/>
                <a:gd name="T21" fmla="*/ 136 h 278"/>
                <a:gd name="T22" fmla="*/ 224 w 226"/>
                <a:gd name="T23" fmla="*/ 0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26" h="278">
                  <a:moveTo>
                    <a:pt x="224" y="0"/>
                  </a:moveTo>
                  <a:lnTo>
                    <a:pt x="154" y="0"/>
                  </a:lnTo>
                  <a:lnTo>
                    <a:pt x="62" y="128"/>
                  </a:lnTo>
                  <a:lnTo>
                    <a:pt x="62" y="0"/>
                  </a:lnTo>
                  <a:lnTo>
                    <a:pt x="0" y="0"/>
                  </a:lnTo>
                  <a:lnTo>
                    <a:pt x="0" y="278"/>
                  </a:lnTo>
                  <a:lnTo>
                    <a:pt x="62" y="278"/>
                  </a:lnTo>
                  <a:lnTo>
                    <a:pt x="62" y="153"/>
                  </a:lnTo>
                  <a:lnTo>
                    <a:pt x="154" y="278"/>
                  </a:lnTo>
                  <a:lnTo>
                    <a:pt x="226" y="278"/>
                  </a:lnTo>
                  <a:lnTo>
                    <a:pt x="119" y="136"/>
                  </a:lnTo>
                  <a:lnTo>
                    <a:pt x="224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sk-SK" noProof="0" dirty="0"/>
            </a:p>
          </p:txBody>
        </p:sp>
        <p:sp>
          <p:nvSpPr>
            <p:cNvPr id="146" name="Freeform 178"/>
            <p:cNvSpPr>
              <a:spLocks/>
            </p:cNvSpPr>
            <p:nvPr userDrawn="1"/>
          </p:nvSpPr>
          <p:spPr bwMode="auto">
            <a:xfrm>
              <a:off x="-2625725" y="2557463"/>
              <a:ext cx="292100" cy="300038"/>
            </a:xfrm>
            <a:custGeom>
              <a:avLst/>
              <a:gdLst>
                <a:gd name="T0" fmla="*/ 1303 w 1839"/>
                <a:gd name="T1" fmla="*/ 1215 h 1890"/>
                <a:gd name="T2" fmla="*/ 906 w 1839"/>
                <a:gd name="T3" fmla="*/ 1425 h 1890"/>
                <a:gd name="T4" fmla="*/ 544 w 1839"/>
                <a:gd name="T5" fmla="*/ 1036 h 1890"/>
                <a:gd name="T6" fmla="*/ 544 w 1839"/>
                <a:gd name="T7" fmla="*/ 0 h 1890"/>
                <a:gd name="T8" fmla="*/ 0 w 1839"/>
                <a:gd name="T9" fmla="*/ 0 h 1890"/>
                <a:gd name="T10" fmla="*/ 0 w 1839"/>
                <a:gd name="T11" fmla="*/ 1143 h 1890"/>
                <a:gd name="T12" fmla="*/ 711 w 1839"/>
                <a:gd name="T13" fmla="*/ 1890 h 1890"/>
                <a:gd name="T14" fmla="*/ 1303 w 1839"/>
                <a:gd name="T15" fmla="*/ 1627 h 1890"/>
                <a:gd name="T16" fmla="*/ 1303 w 1839"/>
                <a:gd name="T17" fmla="*/ 1850 h 1890"/>
                <a:gd name="T18" fmla="*/ 1839 w 1839"/>
                <a:gd name="T19" fmla="*/ 1850 h 1890"/>
                <a:gd name="T20" fmla="*/ 1839 w 1839"/>
                <a:gd name="T21" fmla="*/ 0 h 1890"/>
                <a:gd name="T22" fmla="*/ 1303 w 1839"/>
                <a:gd name="T23" fmla="*/ 0 h 1890"/>
                <a:gd name="T24" fmla="*/ 1303 w 1839"/>
                <a:gd name="T25" fmla="*/ 1215 h 18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839" h="1890">
                  <a:moveTo>
                    <a:pt x="1303" y="1215"/>
                  </a:moveTo>
                  <a:cubicBezTo>
                    <a:pt x="1231" y="1306"/>
                    <a:pt x="1104" y="1425"/>
                    <a:pt x="906" y="1425"/>
                  </a:cubicBezTo>
                  <a:cubicBezTo>
                    <a:pt x="679" y="1425"/>
                    <a:pt x="544" y="1278"/>
                    <a:pt x="544" y="1036"/>
                  </a:cubicBezTo>
                  <a:cubicBezTo>
                    <a:pt x="544" y="0"/>
                    <a:pt x="544" y="0"/>
                    <a:pt x="54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143"/>
                    <a:pt x="0" y="1143"/>
                    <a:pt x="0" y="1143"/>
                  </a:cubicBezTo>
                  <a:cubicBezTo>
                    <a:pt x="0" y="1580"/>
                    <a:pt x="251" y="1890"/>
                    <a:pt x="711" y="1890"/>
                  </a:cubicBezTo>
                  <a:cubicBezTo>
                    <a:pt x="1017" y="1890"/>
                    <a:pt x="1207" y="1731"/>
                    <a:pt x="1303" y="1627"/>
                  </a:cubicBezTo>
                  <a:cubicBezTo>
                    <a:pt x="1303" y="1850"/>
                    <a:pt x="1303" y="1850"/>
                    <a:pt x="1303" y="1850"/>
                  </a:cubicBezTo>
                  <a:cubicBezTo>
                    <a:pt x="1839" y="1850"/>
                    <a:pt x="1839" y="1850"/>
                    <a:pt x="1839" y="1850"/>
                  </a:cubicBezTo>
                  <a:cubicBezTo>
                    <a:pt x="1839" y="0"/>
                    <a:pt x="1839" y="0"/>
                    <a:pt x="1839" y="0"/>
                  </a:cubicBezTo>
                  <a:cubicBezTo>
                    <a:pt x="1303" y="0"/>
                    <a:pt x="1303" y="0"/>
                    <a:pt x="1303" y="0"/>
                  </a:cubicBezTo>
                  <a:lnTo>
                    <a:pt x="1303" y="1215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sk-SK" noProof="0" dirty="0"/>
            </a:p>
          </p:txBody>
        </p:sp>
        <p:sp>
          <p:nvSpPr>
            <p:cNvPr id="147" name="Freeform 179"/>
            <p:cNvSpPr>
              <a:spLocks noEditPoints="1"/>
            </p:cNvSpPr>
            <p:nvPr userDrawn="1"/>
          </p:nvSpPr>
          <p:spPr bwMode="auto">
            <a:xfrm>
              <a:off x="-1865313" y="2551113"/>
              <a:ext cx="314325" cy="306388"/>
            </a:xfrm>
            <a:custGeom>
              <a:avLst/>
              <a:gdLst>
                <a:gd name="T0" fmla="*/ 1441 w 1977"/>
                <a:gd name="T1" fmla="*/ 234 h 1930"/>
                <a:gd name="T2" fmla="*/ 874 w 1977"/>
                <a:gd name="T3" fmla="*/ 0 h 1930"/>
                <a:gd name="T4" fmla="*/ 0 w 1977"/>
                <a:gd name="T5" fmla="*/ 973 h 1930"/>
                <a:gd name="T6" fmla="*/ 874 w 1977"/>
                <a:gd name="T7" fmla="*/ 1930 h 1930"/>
                <a:gd name="T8" fmla="*/ 1441 w 1977"/>
                <a:gd name="T9" fmla="*/ 1699 h 1930"/>
                <a:gd name="T10" fmla="*/ 1441 w 1977"/>
                <a:gd name="T11" fmla="*/ 1890 h 1930"/>
                <a:gd name="T12" fmla="*/ 1977 w 1977"/>
                <a:gd name="T13" fmla="*/ 1890 h 1930"/>
                <a:gd name="T14" fmla="*/ 1977 w 1977"/>
                <a:gd name="T15" fmla="*/ 40 h 1930"/>
                <a:gd name="T16" fmla="*/ 1441 w 1977"/>
                <a:gd name="T17" fmla="*/ 40 h 1930"/>
                <a:gd name="T18" fmla="*/ 1441 w 1977"/>
                <a:gd name="T19" fmla="*/ 234 h 1930"/>
                <a:gd name="T20" fmla="*/ 1441 w 1977"/>
                <a:gd name="T21" fmla="*/ 1298 h 1930"/>
                <a:gd name="T22" fmla="*/ 1048 w 1977"/>
                <a:gd name="T23" fmla="*/ 1473 h 1930"/>
                <a:gd name="T24" fmla="*/ 560 w 1977"/>
                <a:gd name="T25" fmla="*/ 965 h 1930"/>
                <a:gd name="T26" fmla="*/ 1048 w 1977"/>
                <a:gd name="T27" fmla="*/ 457 h 1930"/>
                <a:gd name="T28" fmla="*/ 1441 w 1977"/>
                <a:gd name="T29" fmla="*/ 631 h 1930"/>
                <a:gd name="T30" fmla="*/ 1441 w 1977"/>
                <a:gd name="T31" fmla="*/ 1298 h 19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77" h="1930">
                  <a:moveTo>
                    <a:pt x="1441" y="234"/>
                  </a:moveTo>
                  <a:cubicBezTo>
                    <a:pt x="1330" y="127"/>
                    <a:pt x="1140" y="0"/>
                    <a:pt x="874" y="0"/>
                  </a:cubicBezTo>
                  <a:cubicBezTo>
                    <a:pt x="358" y="0"/>
                    <a:pt x="0" y="429"/>
                    <a:pt x="0" y="973"/>
                  </a:cubicBezTo>
                  <a:cubicBezTo>
                    <a:pt x="0" y="1509"/>
                    <a:pt x="354" y="1930"/>
                    <a:pt x="874" y="1930"/>
                  </a:cubicBezTo>
                  <a:cubicBezTo>
                    <a:pt x="1156" y="1930"/>
                    <a:pt x="1342" y="1799"/>
                    <a:pt x="1441" y="1699"/>
                  </a:cubicBezTo>
                  <a:cubicBezTo>
                    <a:pt x="1441" y="1890"/>
                    <a:pt x="1441" y="1890"/>
                    <a:pt x="1441" y="1890"/>
                  </a:cubicBezTo>
                  <a:cubicBezTo>
                    <a:pt x="1977" y="1890"/>
                    <a:pt x="1977" y="1890"/>
                    <a:pt x="1977" y="1890"/>
                  </a:cubicBezTo>
                  <a:cubicBezTo>
                    <a:pt x="1977" y="40"/>
                    <a:pt x="1977" y="40"/>
                    <a:pt x="1977" y="40"/>
                  </a:cubicBezTo>
                  <a:cubicBezTo>
                    <a:pt x="1441" y="40"/>
                    <a:pt x="1441" y="40"/>
                    <a:pt x="1441" y="40"/>
                  </a:cubicBezTo>
                  <a:lnTo>
                    <a:pt x="1441" y="234"/>
                  </a:lnTo>
                  <a:close/>
                  <a:moveTo>
                    <a:pt x="1441" y="1298"/>
                  </a:moveTo>
                  <a:cubicBezTo>
                    <a:pt x="1366" y="1382"/>
                    <a:pt x="1239" y="1473"/>
                    <a:pt x="1048" y="1473"/>
                  </a:cubicBezTo>
                  <a:cubicBezTo>
                    <a:pt x="762" y="1473"/>
                    <a:pt x="560" y="1266"/>
                    <a:pt x="560" y="965"/>
                  </a:cubicBezTo>
                  <a:cubicBezTo>
                    <a:pt x="560" y="663"/>
                    <a:pt x="762" y="457"/>
                    <a:pt x="1048" y="457"/>
                  </a:cubicBezTo>
                  <a:cubicBezTo>
                    <a:pt x="1239" y="457"/>
                    <a:pt x="1366" y="548"/>
                    <a:pt x="1441" y="631"/>
                  </a:cubicBezTo>
                  <a:lnTo>
                    <a:pt x="1441" y="1298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sk-SK" noProof="0" dirty="0"/>
            </a:p>
          </p:txBody>
        </p:sp>
        <p:sp>
          <p:nvSpPr>
            <p:cNvPr id="148" name="Freeform 180"/>
            <p:cNvSpPr>
              <a:spLocks noEditPoints="1"/>
            </p:cNvSpPr>
            <p:nvPr userDrawn="1"/>
          </p:nvSpPr>
          <p:spPr bwMode="auto">
            <a:xfrm>
              <a:off x="-3000375" y="2551113"/>
              <a:ext cx="314325" cy="306388"/>
            </a:xfrm>
            <a:custGeom>
              <a:avLst/>
              <a:gdLst>
                <a:gd name="T0" fmla="*/ 1441 w 1977"/>
                <a:gd name="T1" fmla="*/ 234 h 1930"/>
                <a:gd name="T2" fmla="*/ 873 w 1977"/>
                <a:gd name="T3" fmla="*/ 0 h 1930"/>
                <a:gd name="T4" fmla="*/ 0 w 1977"/>
                <a:gd name="T5" fmla="*/ 973 h 1930"/>
                <a:gd name="T6" fmla="*/ 873 w 1977"/>
                <a:gd name="T7" fmla="*/ 1930 h 1930"/>
                <a:gd name="T8" fmla="*/ 1441 w 1977"/>
                <a:gd name="T9" fmla="*/ 1699 h 1930"/>
                <a:gd name="T10" fmla="*/ 1441 w 1977"/>
                <a:gd name="T11" fmla="*/ 1890 h 1930"/>
                <a:gd name="T12" fmla="*/ 1977 w 1977"/>
                <a:gd name="T13" fmla="*/ 1890 h 1930"/>
                <a:gd name="T14" fmla="*/ 1977 w 1977"/>
                <a:gd name="T15" fmla="*/ 40 h 1930"/>
                <a:gd name="T16" fmla="*/ 1441 w 1977"/>
                <a:gd name="T17" fmla="*/ 40 h 1930"/>
                <a:gd name="T18" fmla="*/ 1441 w 1977"/>
                <a:gd name="T19" fmla="*/ 234 h 1930"/>
                <a:gd name="T20" fmla="*/ 1441 w 1977"/>
                <a:gd name="T21" fmla="*/ 1298 h 1930"/>
                <a:gd name="T22" fmla="*/ 1048 w 1977"/>
                <a:gd name="T23" fmla="*/ 1473 h 1930"/>
                <a:gd name="T24" fmla="*/ 560 w 1977"/>
                <a:gd name="T25" fmla="*/ 965 h 1930"/>
                <a:gd name="T26" fmla="*/ 1048 w 1977"/>
                <a:gd name="T27" fmla="*/ 457 h 1930"/>
                <a:gd name="T28" fmla="*/ 1441 w 1977"/>
                <a:gd name="T29" fmla="*/ 631 h 1930"/>
                <a:gd name="T30" fmla="*/ 1441 w 1977"/>
                <a:gd name="T31" fmla="*/ 1298 h 19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77" h="1930">
                  <a:moveTo>
                    <a:pt x="1441" y="234"/>
                  </a:moveTo>
                  <a:cubicBezTo>
                    <a:pt x="1330" y="127"/>
                    <a:pt x="1139" y="0"/>
                    <a:pt x="873" y="0"/>
                  </a:cubicBezTo>
                  <a:cubicBezTo>
                    <a:pt x="357" y="0"/>
                    <a:pt x="0" y="429"/>
                    <a:pt x="0" y="973"/>
                  </a:cubicBezTo>
                  <a:cubicBezTo>
                    <a:pt x="0" y="1509"/>
                    <a:pt x="353" y="1930"/>
                    <a:pt x="873" y="1930"/>
                  </a:cubicBezTo>
                  <a:cubicBezTo>
                    <a:pt x="1155" y="1930"/>
                    <a:pt x="1342" y="1799"/>
                    <a:pt x="1441" y="1699"/>
                  </a:cubicBezTo>
                  <a:cubicBezTo>
                    <a:pt x="1441" y="1890"/>
                    <a:pt x="1441" y="1890"/>
                    <a:pt x="1441" y="1890"/>
                  </a:cubicBezTo>
                  <a:cubicBezTo>
                    <a:pt x="1977" y="1890"/>
                    <a:pt x="1977" y="1890"/>
                    <a:pt x="1977" y="1890"/>
                  </a:cubicBezTo>
                  <a:cubicBezTo>
                    <a:pt x="1977" y="40"/>
                    <a:pt x="1977" y="40"/>
                    <a:pt x="1977" y="40"/>
                  </a:cubicBezTo>
                  <a:cubicBezTo>
                    <a:pt x="1441" y="40"/>
                    <a:pt x="1441" y="40"/>
                    <a:pt x="1441" y="40"/>
                  </a:cubicBezTo>
                  <a:lnTo>
                    <a:pt x="1441" y="234"/>
                  </a:lnTo>
                  <a:close/>
                  <a:moveTo>
                    <a:pt x="1441" y="1298"/>
                  </a:moveTo>
                  <a:cubicBezTo>
                    <a:pt x="1366" y="1382"/>
                    <a:pt x="1239" y="1473"/>
                    <a:pt x="1048" y="1473"/>
                  </a:cubicBezTo>
                  <a:cubicBezTo>
                    <a:pt x="762" y="1473"/>
                    <a:pt x="560" y="1266"/>
                    <a:pt x="560" y="965"/>
                  </a:cubicBezTo>
                  <a:cubicBezTo>
                    <a:pt x="560" y="663"/>
                    <a:pt x="762" y="457"/>
                    <a:pt x="1048" y="457"/>
                  </a:cubicBezTo>
                  <a:cubicBezTo>
                    <a:pt x="1239" y="457"/>
                    <a:pt x="1366" y="548"/>
                    <a:pt x="1441" y="631"/>
                  </a:cubicBezTo>
                  <a:lnTo>
                    <a:pt x="1441" y="1298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sk-SK" noProof="0" dirty="0"/>
            </a:p>
          </p:txBody>
        </p:sp>
        <p:sp>
          <p:nvSpPr>
            <p:cNvPr id="149" name="Freeform 181"/>
            <p:cNvSpPr>
              <a:spLocks noEditPoints="1"/>
            </p:cNvSpPr>
            <p:nvPr userDrawn="1"/>
          </p:nvSpPr>
          <p:spPr bwMode="auto">
            <a:xfrm>
              <a:off x="-1149350" y="2409825"/>
              <a:ext cx="317500" cy="447675"/>
            </a:xfrm>
            <a:custGeom>
              <a:avLst/>
              <a:gdLst>
                <a:gd name="T0" fmla="*/ 1461 w 1997"/>
                <a:gd name="T1" fmla="*/ 0 h 2819"/>
                <a:gd name="T2" fmla="*/ 1461 w 1997"/>
                <a:gd name="T3" fmla="*/ 1139 h 2819"/>
                <a:gd name="T4" fmla="*/ 873 w 1997"/>
                <a:gd name="T5" fmla="*/ 889 h 2819"/>
                <a:gd name="T6" fmla="*/ 0 w 1997"/>
                <a:gd name="T7" fmla="*/ 1862 h 2819"/>
                <a:gd name="T8" fmla="*/ 873 w 1997"/>
                <a:gd name="T9" fmla="*/ 2819 h 2819"/>
                <a:gd name="T10" fmla="*/ 1461 w 1997"/>
                <a:gd name="T11" fmla="*/ 2568 h 2819"/>
                <a:gd name="T12" fmla="*/ 1461 w 1997"/>
                <a:gd name="T13" fmla="*/ 2779 h 2819"/>
                <a:gd name="T14" fmla="*/ 1997 w 1997"/>
                <a:gd name="T15" fmla="*/ 2779 h 2819"/>
                <a:gd name="T16" fmla="*/ 1997 w 1997"/>
                <a:gd name="T17" fmla="*/ 0 h 2819"/>
                <a:gd name="T18" fmla="*/ 1461 w 1997"/>
                <a:gd name="T19" fmla="*/ 0 h 2819"/>
                <a:gd name="T20" fmla="*/ 1461 w 1997"/>
                <a:gd name="T21" fmla="*/ 2163 h 2819"/>
                <a:gd name="T22" fmla="*/ 1048 w 1997"/>
                <a:gd name="T23" fmla="*/ 2362 h 2819"/>
                <a:gd name="T24" fmla="*/ 560 w 1997"/>
                <a:gd name="T25" fmla="*/ 1854 h 2819"/>
                <a:gd name="T26" fmla="*/ 1048 w 1997"/>
                <a:gd name="T27" fmla="*/ 1346 h 2819"/>
                <a:gd name="T28" fmla="*/ 1461 w 1997"/>
                <a:gd name="T29" fmla="*/ 1544 h 2819"/>
                <a:gd name="T30" fmla="*/ 1461 w 1997"/>
                <a:gd name="T31" fmla="*/ 2163 h 28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97" h="2819">
                  <a:moveTo>
                    <a:pt x="1461" y="0"/>
                  </a:moveTo>
                  <a:cubicBezTo>
                    <a:pt x="1461" y="1139"/>
                    <a:pt x="1461" y="1139"/>
                    <a:pt x="1461" y="1139"/>
                  </a:cubicBezTo>
                  <a:cubicBezTo>
                    <a:pt x="1366" y="1040"/>
                    <a:pt x="1171" y="889"/>
                    <a:pt x="873" y="889"/>
                  </a:cubicBezTo>
                  <a:cubicBezTo>
                    <a:pt x="353" y="889"/>
                    <a:pt x="0" y="1318"/>
                    <a:pt x="0" y="1862"/>
                  </a:cubicBezTo>
                  <a:cubicBezTo>
                    <a:pt x="0" y="2406"/>
                    <a:pt x="361" y="2819"/>
                    <a:pt x="873" y="2819"/>
                  </a:cubicBezTo>
                  <a:cubicBezTo>
                    <a:pt x="1171" y="2819"/>
                    <a:pt x="1366" y="2672"/>
                    <a:pt x="1461" y="2568"/>
                  </a:cubicBezTo>
                  <a:cubicBezTo>
                    <a:pt x="1461" y="2779"/>
                    <a:pt x="1461" y="2779"/>
                    <a:pt x="1461" y="2779"/>
                  </a:cubicBezTo>
                  <a:cubicBezTo>
                    <a:pt x="1997" y="2779"/>
                    <a:pt x="1997" y="2779"/>
                    <a:pt x="1997" y="2779"/>
                  </a:cubicBezTo>
                  <a:cubicBezTo>
                    <a:pt x="1997" y="0"/>
                    <a:pt x="1997" y="0"/>
                    <a:pt x="1997" y="0"/>
                  </a:cubicBezTo>
                  <a:lnTo>
                    <a:pt x="1461" y="0"/>
                  </a:lnTo>
                  <a:close/>
                  <a:moveTo>
                    <a:pt x="1461" y="2163"/>
                  </a:moveTo>
                  <a:cubicBezTo>
                    <a:pt x="1389" y="2255"/>
                    <a:pt x="1254" y="2362"/>
                    <a:pt x="1048" y="2362"/>
                  </a:cubicBezTo>
                  <a:cubicBezTo>
                    <a:pt x="762" y="2362"/>
                    <a:pt x="560" y="2155"/>
                    <a:pt x="560" y="1854"/>
                  </a:cubicBezTo>
                  <a:cubicBezTo>
                    <a:pt x="560" y="1552"/>
                    <a:pt x="762" y="1346"/>
                    <a:pt x="1048" y="1346"/>
                  </a:cubicBezTo>
                  <a:cubicBezTo>
                    <a:pt x="1254" y="1346"/>
                    <a:pt x="1389" y="1453"/>
                    <a:pt x="1461" y="1544"/>
                  </a:cubicBezTo>
                  <a:lnTo>
                    <a:pt x="1461" y="2163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sk-SK" noProof="0" dirty="0"/>
            </a:p>
          </p:txBody>
        </p:sp>
        <p:sp>
          <p:nvSpPr>
            <p:cNvPr id="150" name="Freeform 182"/>
            <p:cNvSpPr>
              <a:spLocks/>
            </p:cNvSpPr>
            <p:nvPr userDrawn="1"/>
          </p:nvSpPr>
          <p:spPr bwMode="auto">
            <a:xfrm>
              <a:off x="-1487488" y="2551113"/>
              <a:ext cx="290513" cy="300038"/>
            </a:xfrm>
            <a:custGeom>
              <a:avLst/>
              <a:gdLst>
                <a:gd name="T0" fmla="*/ 1128 w 1839"/>
                <a:gd name="T1" fmla="*/ 0 h 1890"/>
                <a:gd name="T2" fmla="*/ 540 w 1839"/>
                <a:gd name="T3" fmla="*/ 262 h 1890"/>
                <a:gd name="T4" fmla="*/ 540 w 1839"/>
                <a:gd name="T5" fmla="*/ 40 h 1890"/>
                <a:gd name="T6" fmla="*/ 0 w 1839"/>
                <a:gd name="T7" fmla="*/ 40 h 1890"/>
                <a:gd name="T8" fmla="*/ 0 w 1839"/>
                <a:gd name="T9" fmla="*/ 1890 h 1890"/>
                <a:gd name="T10" fmla="*/ 540 w 1839"/>
                <a:gd name="T11" fmla="*/ 1890 h 1890"/>
                <a:gd name="T12" fmla="*/ 540 w 1839"/>
                <a:gd name="T13" fmla="*/ 675 h 1890"/>
                <a:gd name="T14" fmla="*/ 937 w 1839"/>
                <a:gd name="T15" fmla="*/ 464 h 1890"/>
                <a:gd name="T16" fmla="*/ 1295 w 1839"/>
                <a:gd name="T17" fmla="*/ 854 h 1890"/>
                <a:gd name="T18" fmla="*/ 1295 w 1839"/>
                <a:gd name="T19" fmla="*/ 1890 h 1890"/>
                <a:gd name="T20" fmla="*/ 1839 w 1839"/>
                <a:gd name="T21" fmla="*/ 1890 h 1890"/>
                <a:gd name="T22" fmla="*/ 1839 w 1839"/>
                <a:gd name="T23" fmla="*/ 746 h 1890"/>
                <a:gd name="T24" fmla="*/ 1128 w 1839"/>
                <a:gd name="T25" fmla="*/ 0 h 18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839" h="1890">
                  <a:moveTo>
                    <a:pt x="1128" y="0"/>
                  </a:moveTo>
                  <a:cubicBezTo>
                    <a:pt x="826" y="0"/>
                    <a:pt x="632" y="159"/>
                    <a:pt x="540" y="262"/>
                  </a:cubicBezTo>
                  <a:cubicBezTo>
                    <a:pt x="540" y="40"/>
                    <a:pt x="540" y="40"/>
                    <a:pt x="540" y="4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0" y="1890"/>
                    <a:pt x="0" y="1890"/>
                    <a:pt x="0" y="1890"/>
                  </a:cubicBezTo>
                  <a:cubicBezTo>
                    <a:pt x="540" y="1890"/>
                    <a:pt x="540" y="1890"/>
                    <a:pt x="540" y="1890"/>
                  </a:cubicBezTo>
                  <a:cubicBezTo>
                    <a:pt x="540" y="675"/>
                    <a:pt x="540" y="675"/>
                    <a:pt x="540" y="675"/>
                  </a:cubicBezTo>
                  <a:cubicBezTo>
                    <a:pt x="608" y="580"/>
                    <a:pt x="735" y="464"/>
                    <a:pt x="937" y="464"/>
                  </a:cubicBezTo>
                  <a:cubicBezTo>
                    <a:pt x="1164" y="464"/>
                    <a:pt x="1295" y="611"/>
                    <a:pt x="1295" y="854"/>
                  </a:cubicBezTo>
                  <a:cubicBezTo>
                    <a:pt x="1295" y="1890"/>
                    <a:pt x="1295" y="1890"/>
                    <a:pt x="1295" y="1890"/>
                  </a:cubicBezTo>
                  <a:cubicBezTo>
                    <a:pt x="1839" y="1890"/>
                    <a:pt x="1839" y="1890"/>
                    <a:pt x="1839" y="1890"/>
                  </a:cubicBezTo>
                  <a:cubicBezTo>
                    <a:pt x="1839" y="746"/>
                    <a:pt x="1839" y="746"/>
                    <a:pt x="1839" y="746"/>
                  </a:cubicBezTo>
                  <a:cubicBezTo>
                    <a:pt x="1839" y="310"/>
                    <a:pt x="1588" y="0"/>
                    <a:pt x="1128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sk-SK" noProof="0" dirty="0"/>
            </a:p>
          </p:txBody>
        </p:sp>
        <p:sp>
          <p:nvSpPr>
            <p:cNvPr id="151" name="Freeform 183"/>
            <p:cNvSpPr>
              <a:spLocks/>
            </p:cNvSpPr>
            <p:nvPr userDrawn="1"/>
          </p:nvSpPr>
          <p:spPr bwMode="auto">
            <a:xfrm>
              <a:off x="-2286000" y="2403475"/>
              <a:ext cx="238125" cy="447675"/>
            </a:xfrm>
            <a:custGeom>
              <a:avLst/>
              <a:gdLst>
                <a:gd name="T0" fmla="*/ 1128 w 1505"/>
                <a:gd name="T1" fmla="*/ 449 h 2819"/>
                <a:gd name="T2" fmla="*/ 1418 w 1505"/>
                <a:gd name="T3" fmla="*/ 528 h 2819"/>
                <a:gd name="T4" fmla="*/ 1505 w 1505"/>
                <a:gd name="T5" fmla="*/ 115 h 2819"/>
                <a:gd name="T6" fmla="*/ 1009 w 1505"/>
                <a:gd name="T7" fmla="*/ 0 h 2819"/>
                <a:gd name="T8" fmla="*/ 274 w 1505"/>
                <a:gd name="T9" fmla="*/ 750 h 2819"/>
                <a:gd name="T10" fmla="*/ 274 w 1505"/>
                <a:gd name="T11" fmla="*/ 969 h 2819"/>
                <a:gd name="T12" fmla="*/ 0 w 1505"/>
                <a:gd name="T13" fmla="*/ 969 h 2819"/>
                <a:gd name="T14" fmla="*/ 0 w 1505"/>
                <a:gd name="T15" fmla="*/ 1413 h 2819"/>
                <a:gd name="T16" fmla="*/ 274 w 1505"/>
                <a:gd name="T17" fmla="*/ 1413 h 2819"/>
                <a:gd name="T18" fmla="*/ 274 w 1505"/>
                <a:gd name="T19" fmla="*/ 2819 h 2819"/>
                <a:gd name="T20" fmla="*/ 826 w 1505"/>
                <a:gd name="T21" fmla="*/ 2819 h 2819"/>
                <a:gd name="T22" fmla="*/ 826 w 1505"/>
                <a:gd name="T23" fmla="*/ 1413 h 2819"/>
                <a:gd name="T24" fmla="*/ 1453 w 1505"/>
                <a:gd name="T25" fmla="*/ 1413 h 2819"/>
                <a:gd name="T26" fmla="*/ 1453 w 1505"/>
                <a:gd name="T27" fmla="*/ 969 h 2819"/>
                <a:gd name="T28" fmla="*/ 826 w 1505"/>
                <a:gd name="T29" fmla="*/ 969 h 2819"/>
                <a:gd name="T30" fmla="*/ 826 w 1505"/>
                <a:gd name="T31" fmla="*/ 798 h 2819"/>
                <a:gd name="T32" fmla="*/ 1128 w 1505"/>
                <a:gd name="T33" fmla="*/ 449 h 28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05" h="2819">
                  <a:moveTo>
                    <a:pt x="1128" y="449"/>
                  </a:moveTo>
                  <a:cubicBezTo>
                    <a:pt x="1310" y="449"/>
                    <a:pt x="1418" y="528"/>
                    <a:pt x="1418" y="528"/>
                  </a:cubicBezTo>
                  <a:cubicBezTo>
                    <a:pt x="1505" y="115"/>
                    <a:pt x="1505" y="115"/>
                    <a:pt x="1505" y="115"/>
                  </a:cubicBezTo>
                  <a:cubicBezTo>
                    <a:pt x="1505" y="115"/>
                    <a:pt x="1358" y="0"/>
                    <a:pt x="1009" y="0"/>
                  </a:cubicBezTo>
                  <a:cubicBezTo>
                    <a:pt x="556" y="0"/>
                    <a:pt x="274" y="262"/>
                    <a:pt x="274" y="750"/>
                  </a:cubicBezTo>
                  <a:cubicBezTo>
                    <a:pt x="274" y="969"/>
                    <a:pt x="274" y="969"/>
                    <a:pt x="274" y="969"/>
                  </a:cubicBezTo>
                  <a:cubicBezTo>
                    <a:pt x="0" y="969"/>
                    <a:pt x="0" y="969"/>
                    <a:pt x="0" y="969"/>
                  </a:cubicBezTo>
                  <a:cubicBezTo>
                    <a:pt x="0" y="1413"/>
                    <a:pt x="0" y="1413"/>
                    <a:pt x="0" y="1413"/>
                  </a:cubicBezTo>
                  <a:cubicBezTo>
                    <a:pt x="274" y="1413"/>
                    <a:pt x="274" y="1413"/>
                    <a:pt x="274" y="1413"/>
                  </a:cubicBezTo>
                  <a:cubicBezTo>
                    <a:pt x="274" y="2819"/>
                    <a:pt x="274" y="2819"/>
                    <a:pt x="274" y="2819"/>
                  </a:cubicBezTo>
                  <a:cubicBezTo>
                    <a:pt x="826" y="2819"/>
                    <a:pt x="826" y="2819"/>
                    <a:pt x="826" y="2819"/>
                  </a:cubicBezTo>
                  <a:cubicBezTo>
                    <a:pt x="826" y="1413"/>
                    <a:pt x="826" y="1413"/>
                    <a:pt x="826" y="1413"/>
                  </a:cubicBezTo>
                  <a:cubicBezTo>
                    <a:pt x="1453" y="1413"/>
                    <a:pt x="1453" y="1413"/>
                    <a:pt x="1453" y="1413"/>
                  </a:cubicBezTo>
                  <a:cubicBezTo>
                    <a:pt x="1453" y="969"/>
                    <a:pt x="1453" y="969"/>
                    <a:pt x="1453" y="969"/>
                  </a:cubicBezTo>
                  <a:cubicBezTo>
                    <a:pt x="826" y="969"/>
                    <a:pt x="826" y="969"/>
                    <a:pt x="826" y="969"/>
                  </a:cubicBezTo>
                  <a:cubicBezTo>
                    <a:pt x="826" y="798"/>
                    <a:pt x="826" y="798"/>
                    <a:pt x="826" y="798"/>
                  </a:cubicBezTo>
                  <a:cubicBezTo>
                    <a:pt x="826" y="564"/>
                    <a:pt x="933" y="449"/>
                    <a:pt x="1128" y="449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sk-SK" noProof="0" dirty="0"/>
            </a:p>
          </p:txBody>
        </p:sp>
        <p:sp>
          <p:nvSpPr>
            <p:cNvPr id="152" name="Rectangle 184"/>
            <p:cNvSpPr>
              <a:spLocks noChangeArrowheads="1"/>
            </p:cNvSpPr>
            <p:nvPr userDrawn="1"/>
          </p:nvSpPr>
          <p:spPr bwMode="auto">
            <a:xfrm>
              <a:off x="-2006600" y="2409825"/>
              <a:ext cx="87313" cy="441325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sk-SK" noProof="0" dirty="0"/>
            </a:p>
          </p:txBody>
        </p:sp>
      </p:grpSp>
      <p:sp>
        <p:nvSpPr>
          <p:cNvPr id="3" name="Datumsplatzhalter 2"/>
          <p:cNvSpPr>
            <a:spLocks noGrp="1"/>
          </p:cNvSpPr>
          <p:nvPr>
            <p:ph type="dt" sz="half" idx="19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CB255A22-A653-49EC-AA37-97C353EEC7FE}" type="datetime1">
              <a:rPr lang="sk-SK" noProof="0" smtClean="0"/>
              <a:t>30. 11. 2020</a:t>
            </a:fld>
            <a:endParaRPr lang="sk-SK" noProof="0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sk-SK" noProof="0"/>
              <a:t>Päta</a:t>
            </a:r>
            <a:endParaRPr lang="sk-SK" noProof="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sk-SK" noProof="0" dirty="0"/>
              <a:t> </a:t>
            </a:r>
            <a:r>
              <a:rPr lang="sk-SK" noProof="0" dirty="0">
                <a:sym typeface="Wingdings"/>
              </a:rPr>
              <a:t>  </a:t>
            </a:r>
            <a:fld id="{443B15C8-972D-49F6-9B7C-5A2154A8C95F}" type="slidenum">
              <a:rPr lang="sk-SK" noProof="0" smtClean="0"/>
              <a:pPr/>
              <a:t>‹#›</a:t>
            </a:fld>
            <a:endParaRPr lang="sk-SK" noProof="0" dirty="0"/>
          </a:p>
        </p:txBody>
      </p:sp>
      <p:sp>
        <p:nvSpPr>
          <p:cNvPr id="116" name="Picture Placeholder 3"/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0" y="0"/>
            <a:ext cx="9143999" cy="5143499"/>
          </a:xfrm>
          <a:custGeom>
            <a:avLst/>
            <a:gdLst/>
            <a:ahLst/>
            <a:cxnLst/>
            <a:rect l="l" t="t" r="r" b="b"/>
            <a:pathLst>
              <a:path w="9143999" h="5143499">
                <a:moveTo>
                  <a:pt x="7750850" y="109788"/>
                </a:moveTo>
                <a:lnTo>
                  <a:pt x="7750850" y="1394988"/>
                </a:lnTo>
                <a:lnTo>
                  <a:pt x="9036050" y="1394988"/>
                </a:lnTo>
                <a:lnTo>
                  <a:pt x="9036050" y="109788"/>
                </a:lnTo>
                <a:close/>
                <a:moveTo>
                  <a:pt x="0" y="0"/>
                </a:moveTo>
                <a:lnTo>
                  <a:pt x="9143999" y="0"/>
                </a:lnTo>
                <a:lnTo>
                  <a:pt x="9143999" y="5143499"/>
                </a:lnTo>
                <a:lnTo>
                  <a:pt x="0" y="5143499"/>
                </a:lnTo>
                <a:close/>
              </a:path>
            </a:pathLst>
          </a:custGeom>
          <a:noFill/>
        </p:spPr>
        <p:txBody>
          <a:bodyPr lIns="5040000" anchor="ctr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 sz="1000">
                <a:solidFill>
                  <a:schemeClr val="tx1"/>
                </a:solidFill>
              </a:defRPr>
            </a:lvl1pPr>
          </a:lstStyle>
          <a:p>
            <a:r>
              <a:rPr lang="sk-SK" noProof="0" dirty="0"/>
              <a:t>Kliknite na ikonu, aby ste mohli doplniť obrázok</a:t>
            </a:r>
            <a:br>
              <a:rPr lang="sk-SK" noProof="0" dirty="0"/>
            </a:br>
            <a:br>
              <a:rPr lang="sk-SK" noProof="0" dirty="0"/>
            </a:br>
            <a:r>
              <a:rPr lang="sk-SK" noProof="0" dirty="0"/>
              <a:t>Presuňte obrázok do pozadia, aby ste mohli spracovať text</a:t>
            </a:r>
            <a:br>
              <a:rPr lang="sk-SK" noProof="0" dirty="0"/>
            </a:br>
            <a:r>
              <a:rPr lang="sk-SK" noProof="0" dirty="0"/>
              <a:t>(Vybrať obrázok – Štart – Usporiadať – „Dozadu“)</a:t>
            </a:r>
          </a:p>
          <a:p>
            <a:endParaRPr lang="sk-SK" noProof="0" dirty="0"/>
          </a:p>
        </p:txBody>
      </p:sp>
      <p:grpSp>
        <p:nvGrpSpPr>
          <p:cNvPr id="64" name="Gruppieren 63"/>
          <p:cNvGrpSpPr/>
          <p:nvPr userDrawn="1"/>
        </p:nvGrpSpPr>
        <p:grpSpPr>
          <a:xfrm>
            <a:off x="-373329" y="-380578"/>
            <a:ext cx="9664396" cy="5679553"/>
            <a:chOff x="-373329" y="-380578"/>
            <a:chExt cx="9664396" cy="5679553"/>
          </a:xfrm>
        </p:grpSpPr>
        <p:sp>
          <p:nvSpPr>
            <p:cNvPr id="65" name="Textfeld 125"/>
            <p:cNvSpPr txBox="1"/>
            <p:nvPr userDrawn="1"/>
          </p:nvSpPr>
          <p:spPr bwMode="gray">
            <a:xfrm>
              <a:off x="169614" y="-137946"/>
              <a:ext cx="207368" cy="69156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r">
                <a:lnSpc>
                  <a:spcPct val="11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accent1"/>
                </a:buClr>
                <a:buFont typeface="Wingdings" panose="05000000000000000000" pitchFamily="2" charset="2"/>
                <a:buNone/>
              </a:pPr>
              <a:r>
                <a:rPr lang="pl-PL" sz="600" noProof="0" dirty="0">
                  <a:solidFill>
                    <a:schemeClr val="tx2"/>
                  </a:solidFill>
                </a:rPr>
                <a:t>11,60</a:t>
              </a:r>
            </a:p>
          </p:txBody>
        </p:sp>
        <p:cxnSp>
          <p:nvCxnSpPr>
            <p:cNvPr id="66" name="Gerade Verbindung 88"/>
            <p:cNvCxnSpPr/>
            <p:nvPr userDrawn="1"/>
          </p:nvCxnSpPr>
          <p:spPr bwMode="gray">
            <a:xfrm>
              <a:off x="395287" y="-380578"/>
              <a:ext cx="1" cy="310681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7" name="Textfeld 125"/>
            <p:cNvSpPr txBox="1"/>
            <p:nvPr userDrawn="1"/>
          </p:nvSpPr>
          <p:spPr bwMode="gray">
            <a:xfrm>
              <a:off x="4468316" y="-247911"/>
              <a:ext cx="207368" cy="69156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lnSpc>
                  <a:spcPct val="11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accent1"/>
                </a:buClr>
                <a:buFont typeface="Wingdings" panose="05000000000000000000" pitchFamily="2" charset="2"/>
                <a:buNone/>
              </a:pPr>
              <a:r>
                <a:rPr lang="pl-PL" sz="600" noProof="0" dirty="0">
                  <a:solidFill>
                    <a:schemeClr val="tx2"/>
                  </a:solidFill>
                </a:rPr>
                <a:t>0</a:t>
              </a:r>
            </a:p>
          </p:txBody>
        </p:sp>
        <p:cxnSp>
          <p:nvCxnSpPr>
            <p:cNvPr id="68" name="Gerade Verbindung 90"/>
            <p:cNvCxnSpPr/>
            <p:nvPr userDrawn="1"/>
          </p:nvCxnSpPr>
          <p:spPr bwMode="gray">
            <a:xfrm>
              <a:off x="4572000" y="-164554"/>
              <a:ext cx="0" cy="94657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9" name="Textfeld 125"/>
            <p:cNvSpPr txBox="1"/>
            <p:nvPr userDrawn="1"/>
          </p:nvSpPr>
          <p:spPr bwMode="gray">
            <a:xfrm>
              <a:off x="8765420" y="-137946"/>
              <a:ext cx="207368" cy="69156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l">
                <a:lnSpc>
                  <a:spcPct val="11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accent1"/>
                </a:buClr>
                <a:buFont typeface="Wingdings" panose="05000000000000000000" pitchFamily="2" charset="2"/>
                <a:buNone/>
              </a:pPr>
              <a:r>
                <a:rPr lang="pl-PL" sz="600" noProof="0" dirty="0">
                  <a:solidFill>
                    <a:schemeClr val="tx2"/>
                  </a:solidFill>
                </a:rPr>
                <a:t>11,60</a:t>
              </a:r>
            </a:p>
          </p:txBody>
        </p:sp>
        <p:cxnSp>
          <p:nvCxnSpPr>
            <p:cNvPr id="70" name="Gerade Verbindung 95"/>
            <p:cNvCxnSpPr/>
            <p:nvPr userDrawn="1"/>
          </p:nvCxnSpPr>
          <p:spPr bwMode="gray">
            <a:xfrm>
              <a:off x="8745367" y="-380578"/>
              <a:ext cx="1" cy="310681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Gerade Verbindung 96"/>
            <p:cNvCxnSpPr/>
            <p:nvPr userDrawn="1"/>
          </p:nvCxnSpPr>
          <p:spPr bwMode="gray">
            <a:xfrm>
              <a:off x="395287" y="5205375"/>
              <a:ext cx="1" cy="936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Gerade Verbindung 97"/>
            <p:cNvCxnSpPr/>
            <p:nvPr userDrawn="1"/>
          </p:nvCxnSpPr>
          <p:spPr bwMode="gray">
            <a:xfrm>
              <a:off x="4572000" y="5205375"/>
              <a:ext cx="0" cy="936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Gerade Verbindung 100"/>
            <p:cNvCxnSpPr/>
            <p:nvPr userDrawn="1"/>
          </p:nvCxnSpPr>
          <p:spPr bwMode="gray">
            <a:xfrm>
              <a:off x="8745367" y="5205375"/>
              <a:ext cx="1" cy="936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4" name="Textfeld 125"/>
            <p:cNvSpPr txBox="1"/>
            <p:nvPr userDrawn="1"/>
          </p:nvSpPr>
          <p:spPr bwMode="gray">
            <a:xfrm>
              <a:off x="-270016" y="4604219"/>
              <a:ext cx="207368" cy="69156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r">
                <a:lnSpc>
                  <a:spcPct val="11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accent1"/>
                </a:buClr>
                <a:buFont typeface="Wingdings" panose="05000000000000000000" pitchFamily="2" charset="2"/>
                <a:buNone/>
              </a:pPr>
              <a:r>
                <a:rPr lang="pl-PL" sz="600" noProof="0" dirty="0">
                  <a:solidFill>
                    <a:schemeClr val="tx2"/>
                  </a:solidFill>
                </a:rPr>
                <a:t>5,</a:t>
              </a:r>
              <a:r>
                <a:rPr lang="de-DE" sz="600" noProof="0" dirty="0">
                  <a:solidFill>
                    <a:schemeClr val="tx2"/>
                  </a:solidFill>
                </a:rPr>
                <a:t>6</a:t>
              </a:r>
              <a:r>
                <a:rPr lang="pl-PL" sz="600" noProof="0" dirty="0">
                  <a:solidFill>
                    <a:schemeClr val="tx2"/>
                  </a:solidFill>
                </a:rPr>
                <a:t>0</a:t>
              </a:r>
            </a:p>
          </p:txBody>
        </p:sp>
        <p:cxnSp>
          <p:nvCxnSpPr>
            <p:cNvPr id="75" name="Gerade Verbindung 103"/>
            <p:cNvCxnSpPr/>
            <p:nvPr userDrawn="1"/>
          </p:nvCxnSpPr>
          <p:spPr bwMode="gray">
            <a:xfrm rot="5400000">
              <a:off x="-217989" y="4425629"/>
              <a:ext cx="1" cy="310681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6" name="Textfeld 125"/>
            <p:cNvSpPr txBox="1"/>
            <p:nvPr userDrawn="1"/>
          </p:nvSpPr>
          <p:spPr bwMode="gray">
            <a:xfrm>
              <a:off x="-270016" y="1042102"/>
              <a:ext cx="207368" cy="69156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r">
                <a:lnSpc>
                  <a:spcPct val="11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accent1"/>
                </a:buClr>
                <a:buFont typeface="Wingdings" panose="05000000000000000000" pitchFamily="2" charset="2"/>
                <a:buNone/>
              </a:pPr>
              <a:r>
                <a:rPr lang="pl-PL" sz="600" noProof="0" dirty="0">
                  <a:solidFill>
                    <a:schemeClr val="tx2"/>
                  </a:solidFill>
                </a:rPr>
                <a:t>4,00</a:t>
              </a:r>
            </a:p>
          </p:txBody>
        </p:sp>
        <p:cxnSp>
          <p:nvCxnSpPr>
            <p:cNvPr id="77" name="Gerade Verbindung 105"/>
            <p:cNvCxnSpPr/>
            <p:nvPr userDrawn="1"/>
          </p:nvCxnSpPr>
          <p:spPr bwMode="gray">
            <a:xfrm rot="5400000">
              <a:off x="-217989" y="970017"/>
              <a:ext cx="1" cy="310681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8" name="Textfeld 125"/>
            <p:cNvSpPr txBox="1"/>
            <p:nvPr userDrawn="1"/>
          </p:nvSpPr>
          <p:spPr bwMode="gray">
            <a:xfrm>
              <a:off x="-325696" y="2825353"/>
              <a:ext cx="207368" cy="69156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lnSpc>
                  <a:spcPct val="11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accent1"/>
                </a:buClr>
                <a:buFont typeface="Wingdings" panose="05000000000000000000" pitchFamily="2" charset="2"/>
                <a:buNone/>
              </a:pPr>
              <a:r>
                <a:rPr lang="pl-PL" sz="600" noProof="0" dirty="0">
                  <a:solidFill>
                    <a:schemeClr val="tx2"/>
                  </a:solidFill>
                </a:rPr>
                <a:t>0</a:t>
              </a:r>
              <a:r>
                <a:rPr lang="de-DE" sz="600" noProof="0" dirty="0">
                  <a:solidFill>
                    <a:schemeClr val="tx2"/>
                  </a:solidFill>
                </a:rPr>
                <a:t>,8</a:t>
              </a:r>
              <a:endParaRPr lang="pl-PL" sz="600" noProof="0" dirty="0">
                <a:solidFill>
                  <a:schemeClr val="tx2"/>
                </a:solidFill>
              </a:endParaRPr>
            </a:p>
          </p:txBody>
        </p:sp>
        <p:cxnSp>
          <p:nvCxnSpPr>
            <p:cNvPr id="79" name="Gerade Verbindung 107"/>
            <p:cNvCxnSpPr/>
            <p:nvPr userDrawn="1"/>
          </p:nvCxnSpPr>
          <p:spPr bwMode="gray">
            <a:xfrm rot="16200000">
              <a:off x="-109977" y="2815134"/>
              <a:ext cx="0" cy="94657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Gerade Verbindung 108"/>
            <p:cNvCxnSpPr/>
            <p:nvPr userDrawn="1"/>
          </p:nvCxnSpPr>
          <p:spPr bwMode="gray">
            <a:xfrm rot="5400000">
              <a:off x="9244266" y="4534169"/>
              <a:ext cx="1" cy="936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Gerade Verbindung 109"/>
            <p:cNvCxnSpPr/>
            <p:nvPr userDrawn="1"/>
          </p:nvCxnSpPr>
          <p:spPr bwMode="gray">
            <a:xfrm rot="5400000">
              <a:off x="9244266" y="1078557"/>
              <a:ext cx="1" cy="936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Gerade Verbindung 110"/>
            <p:cNvCxnSpPr/>
            <p:nvPr userDrawn="1"/>
          </p:nvCxnSpPr>
          <p:spPr bwMode="gray">
            <a:xfrm rot="16200000">
              <a:off x="9244266" y="2815662"/>
              <a:ext cx="0" cy="936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577070745"/>
      </p:ext>
    </p:extLst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350084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67" name="think-cell Folie" r:id="rId4" imgW="245" imgH="245" progId="TCLayout.ActiveDocument.1">
                  <p:embed/>
                </p:oleObj>
              </mc:Choice>
              <mc:Fallback>
                <p:oleObj name="think-cell Folie" r:id="rId4" imgW="245" imgH="2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/>
          <p:cNvSpPr/>
          <p:nvPr userDrawn="1"/>
        </p:nvSpPr>
        <p:spPr bwMode="gray">
          <a:xfrm>
            <a:off x="0" y="0"/>
            <a:ext cx="9144000" cy="51435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k-SK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95288" y="1527176"/>
            <a:ext cx="5148262" cy="3060798"/>
          </a:xfrm>
        </p:spPr>
        <p:txBody>
          <a:bodyPr anchor="b"/>
          <a:lstStyle>
            <a:lvl1pPr>
              <a:defRPr sz="4400" baseline="0">
                <a:solidFill>
                  <a:schemeClr val="bg1"/>
                </a:solidFill>
              </a:defRPr>
            </a:lvl1pPr>
          </a:lstStyle>
          <a:p>
            <a:r>
              <a:rPr lang="sk-SK" noProof="0" dirty="0"/>
              <a:t>Názov snímky</a:t>
            </a: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7956376" y="5236046"/>
            <a:ext cx="657959" cy="1360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fld id="{613FD2E6-F7D4-4478-8337-A7477641E402}" type="datetime1">
              <a:rPr lang="sk-SK" noProof="0" smtClean="0"/>
              <a:t>30. 11. 2020</a:t>
            </a:fld>
            <a:endParaRPr lang="sk-SK" noProof="0" dirty="0"/>
          </a:p>
        </p:txBody>
      </p:sp>
      <p:sp>
        <p:nvSpPr>
          <p:cNvPr id="14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5543550" y="5236046"/>
            <a:ext cx="2412826" cy="1360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r>
              <a:rPr lang="sk-SK" noProof="0"/>
              <a:t>Päta</a:t>
            </a:r>
            <a:endParaRPr lang="sk-SK" noProof="0" dirty="0"/>
          </a:p>
        </p:txBody>
      </p:sp>
      <p:sp>
        <p:nvSpPr>
          <p:cNvPr id="15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580769" y="5236046"/>
            <a:ext cx="563231" cy="1360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1">
                    <a:alpha val="0"/>
                  </a:schemeClr>
                </a:solidFill>
              </a:defRPr>
            </a:lvl1pPr>
          </a:lstStyle>
          <a:p>
            <a:r>
              <a:rPr lang="sk-SK" noProof="0" dirty="0"/>
              <a:t> </a:t>
            </a:r>
            <a:r>
              <a:rPr lang="sk-SK" noProof="0" dirty="0">
                <a:sym typeface="Wingdings"/>
              </a:rPr>
              <a:t>  </a:t>
            </a:r>
            <a:fld id="{443B15C8-972D-49F6-9B7C-5A2154A8C95F}" type="slidenum">
              <a:rPr lang="sk-SK" noProof="0" smtClean="0"/>
              <a:pPr/>
              <a:t>‹#›</a:t>
            </a:fld>
            <a:endParaRPr lang="sk-SK" noProof="0" dirty="0"/>
          </a:p>
        </p:txBody>
      </p:sp>
    </p:spTree>
    <p:extLst>
      <p:ext uri="{BB962C8B-B14F-4D97-AF65-F5344CB8AC3E}">
        <p14:creationId xmlns:p14="http://schemas.microsoft.com/office/powerpoint/2010/main" val="564936076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1015667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91" name="think-cell Folie" r:id="rId4" imgW="245" imgH="245" progId="TCLayout.ActiveDocument.1">
                  <p:embed/>
                </p:oleObj>
              </mc:Choice>
              <mc:Fallback>
                <p:oleObj name="think-cell Folie" r:id="rId4" imgW="245" imgH="2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Text Placeholder 2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077988" y="1232694"/>
            <a:ext cx="378000" cy="378000"/>
          </a:xfrm>
          <a:solidFill>
            <a:schemeClr val="accent2"/>
          </a:solidFill>
        </p:spPr>
        <p:txBody>
          <a:bodyPr wrap="none" rIns="0" anchor="ctr"/>
          <a:lstStyle>
            <a:lvl1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800" b="1" cap="none">
                <a:solidFill>
                  <a:schemeClr val="bg1"/>
                </a:solidFill>
              </a:defRPr>
            </a:lvl1pPr>
            <a:lvl2pPr marL="0" indent="0" algn="ctr">
              <a:lnSpc>
                <a:spcPct val="100000"/>
              </a:lnSpc>
              <a:buNone/>
              <a:defRPr sz="1800" b="1" cap="none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buNone/>
              <a:defRPr sz="1800" b="1" cap="none">
                <a:solidFill>
                  <a:schemeClr val="bg1"/>
                </a:solidFill>
              </a:defRPr>
            </a:lvl3pPr>
            <a:lvl4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800" b="1" cap="none">
                <a:solidFill>
                  <a:schemeClr val="bg1"/>
                </a:solidFill>
              </a:defRPr>
            </a:lvl4pPr>
            <a:lvl5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800" b="1" cap="none">
                <a:solidFill>
                  <a:schemeClr val="bg1"/>
                </a:solidFill>
              </a:defRPr>
            </a:lvl5pPr>
            <a:lvl6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800" b="1" cap="none">
                <a:solidFill>
                  <a:schemeClr val="bg1"/>
                </a:solidFill>
              </a:defRPr>
            </a:lvl6pPr>
            <a:lvl7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800" b="1" cap="none">
                <a:solidFill>
                  <a:schemeClr val="bg1"/>
                </a:solidFill>
              </a:defRPr>
            </a:lvl7pPr>
            <a:lvl8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800" b="1" cap="none">
                <a:solidFill>
                  <a:schemeClr val="bg1"/>
                </a:solidFill>
              </a:defRPr>
            </a:lvl8pPr>
            <a:lvl9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800" b="1" cap="none">
                <a:solidFill>
                  <a:schemeClr val="bg1"/>
                </a:solidFill>
              </a:defRPr>
            </a:lvl9pPr>
          </a:lstStyle>
          <a:p>
            <a:pPr lvl="0"/>
            <a:r>
              <a:rPr lang="sk-SK" noProof="0" dirty="0"/>
              <a:t>NR</a:t>
            </a:r>
          </a:p>
        </p:txBody>
      </p:sp>
      <p:sp>
        <p:nvSpPr>
          <p:cNvPr id="28" name="Text Placehold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077988" y="1734014"/>
            <a:ext cx="378000" cy="378000"/>
          </a:xfrm>
          <a:solidFill>
            <a:schemeClr val="accent2"/>
          </a:solidFill>
        </p:spPr>
        <p:txBody>
          <a:bodyPr wrap="none" rIns="0" anchor="ctr"/>
          <a:lstStyle>
            <a:lvl1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800" b="1" cap="none">
                <a:solidFill>
                  <a:schemeClr val="bg1"/>
                </a:solidFill>
              </a:defRPr>
            </a:lvl1pPr>
            <a:lvl2pPr marL="0" indent="0" algn="ctr">
              <a:lnSpc>
                <a:spcPct val="100000"/>
              </a:lnSpc>
              <a:buNone/>
              <a:defRPr sz="1800" b="1" cap="none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buNone/>
              <a:defRPr sz="1800" b="1" cap="none">
                <a:solidFill>
                  <a:schemeClr val="bg1"/>
                </a:solidFill>
              </a:defRPr>
            </a:lvl3pPr>
            <a:lvl4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800" b="1" cap="none">
                <a:solidFill>
                  <a:schemeClr val="bg1"/>
                </a:solidFill>
              </a:defRPr>
            </a:lvl4pPr>
            <a:lvl5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800" b="1" cap="none">
                <a:solidFill>
                  <a:schemeClr val="bg1"/>
                </a:solidFill>
              </a:defRPr>
            </a:lvl5pPr>
            <a:lvl6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800" b="1" cap="none">
                <a:solidFill>
                  <a:schemeClr val="bg1"/>
                </a:solidFill>
              </a:defRPr>
            </a:lvl6pPr>
            <a:lvl7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800" b="1" cap="none">
                <a:solidFill>
                  <a:schemeClr val="bg1"/>
                </a:solidFill>
              </a:defRPr>
            </a:lvl7pPr>
            <a:lvl8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800" b="1" cap="none">
                <a:solidFill>
                  <a:schemeClr val="bg1"/>
                </a:solidFill>
              </a:defRPr>
            </a:lvl8pPr>
            <a:lvl9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800" b="1" cap="none">
                <a:solidFill>
                  <a:schemeClr val="bg1"/>
                </a:solidFill>
              </a:defRPr>
            </a:lvl9pPr>
          </a:lstStyle>
          <a:p>
            <a:pPr lvl="0"/>
            <a:r>
              <a:rPr lang="sk-SK" noProof="0" dirty="0"/>
              <a:t>NR</a:t>
            </a:r>
          </a:p>
        </p:txBody>
      </p:sp>
      <p:sp>
        <p:nvSpPr>
          <p:cNvPr id="29" name="Text Placeholder 2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077988" y="2235334"/>
            <a:ext cx="378000" cy="378000"/>
          </a:xfrm>
          <a:solidFill>
            <a:schemeClr val="accent2"/>
          </a:solidFill>
        </p:spPr>
        <p:txBody>
          <a:bodyPr wrap="none" rIns="0" anchor="ctr"/>
          <a:lstStyle>
            <a:lvl1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800" b="1" cap="none">
                <a:solidFill>
                  <a:schemeClr val="bg1"/>
                </a:solidFill>
              </a:defRPr>
            </a:lvl1pPr>
            <a:lvl2pPr marL="0" indent="0" algn="ctr">
              <a:lnSpc>
                <a:spcPct val="100000"/>
              </a:lnSpc>
              <a:buNone/>
              <a:defRPr sz="1800" b="1" cap="none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buNone/>
              <a:defRPr sz="1800" b="1" cap="none">
                <a:solidFill>
                  <a:schemeClr val="bg1"/>
                </a:solidFill>
              </a:defRPr>
            </a:lvl3pPr>
            <a:lvl4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800" b="1" cap="none">
                <a:solidFill>
                  <a:schemeClr val="bg1"/>
                </a:solidFill>
              </a:defRPr>
            </a:lvl4pPr>
            <a:lvl5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800" b="1" cap="none">
                <a:solidFill>
                  <a:schemeClr val="bg1"/>
                </a:solidFill>
              </a:defRPr>
            </a:lvl5pPr>
            <a:lvl6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800" b="1" cap="none">
                <a:solidFill>
                  <a:schemeClr val="bg1"/>
                </a:solidFill>
              </a:defRPr>
            </a:lvl6pPr>
            <a:lvl7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800" b="1" cap="none">
                <a:solidFill>
                  <a:schemeClr val="bg1"/>
                </a:solidFill>
              </a:defRPr>
            </a:lvl7pPr>
            <a:lvl8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800" b="1" cap="none">
                <a:solidFill>
                  <a:schemeClr val="bg1"/>
                </a:solidFill>
              </a:defRPr>
            </a:lvl8pPr>
            <a:lvl9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800" b="1" cap="none">
                <a:solidFill>
                  <a:schemeClr val="bg1"/>
                </a:solidFill>
              </a:defRPr>
            </a:lvl9pPr>
          </a:lstStyle>
          <a:p>
            <a:pPr lvl="0"/>
            <a:r>
              <a:rPr lang="sk-SK" noProof="0" dirty="0"/>
              <a:t>NR</a:t>
            </a:r>
          </a:p>
        </p:txBody>
      </p:sp>
      <p:sp>
        <p:nvSpPr>
          <p:cNvPr id="30" name="Text Placeholder 2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077988" y="2736654"/>
            <a:ext cx="378000" cy="378000"/>
          </a:xfrm>
          <a:solidFill>
            <a:schemeClr val="accent2"/>
          </a:solidFill>
        </p:spPr>
        <p:txBody>
          <a:bodyPr wrap="none" rIns="0" anchor="ctr"/>
          <a:lstStyle>
            <a:lvl1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800" b="1" cap="none">
                <a:solidFill>
                  <a:schemeClr val="bg1"/>
                </a:solidFill>
              </a:defRPr>
            </a:lvl1pPr>
            <a:lvl2pPr marL="0" indent="0" algn="ctr">
              <a:lnSpc>
                <a:spcPct val="100000"/>
              </a:lnSpc>
              <a:buNone/>
              <a:defRPr sz="1800" b="1" cap="none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buNone/>
              <a:defRPr sz="1800" b="1" cap="none">
                <a:solidFill>
                  <a:schemeClr val="bg1"/>
                </a:solidFill>
              </a:defRPr>
            </a:lvl3pPr>
            <a:lvl4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800" b="1" cap="none">
                <a:solidFill>
                  <a:schemeClr val="bg1"/>
                </a:solidFill>
              </a:defRPr>
            </a:lvl4pPr>
            <a:lvl5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800" b="1" cap="none">
                <a:solidFill>
                  <a:schemeClr val="bg1"/>
                </a:solidFill>
              </a:defRPr>
            </a:lvl5pPr>
            <a:lvl6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800" b="1" cap="none">
                <a:solidFill>
                  <a:schemeClr val="bg1"/>
                </a:solidFill>
              </a:defRPr>
            </a:lvl6pPr>
            <a:lvl7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800" b="1" cap="none">
                <a:solidFill>
                  <a:schemeClr val="bg1"/>
                </a:solidFill>
              </a:defRPr>
            </a:lvl7pPr>
            <a:lvl8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800" b="1" cap="none">
                <a:solidFill>
                  <a:schemeClr val="bg1"/>
                </a:solidFill>
              </a:defRPr>
            </a:lvl8pPr>
            <a:lvl9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800" b="1" cap="none">
                <a:solidFill>
                  <a:schemeClr val="bg1"/>
                </a:solidFill>
              </a:defRPr>
            </a:lvl9pPr>
          </a:lstStyle>
          <a:p>
            <a:pPr lvl="0"/>
            <a:r>
              <a:rPr lang="sk-SK" noProof="0" dirty="0"/>
              <a:t>NR</a:t>
            </a:r>
          </a:p>
        </p:txBody>
      </p:sp>
      <p:sp>
        <p:nvSpPr>
          <p:cNvPr id="32" name="Text Placeholder 2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077988" y="3237972"/>
            <a:ext cx="378000" cy="378000"/>
          </a:xfrm>
          <a:solidFill>
            <a:schemeClr val="accent2"/>
          </a:solidFill>
        </p:spPr>
        <p:txBody>
          <a:bodyPr wrap="none" rIns="0" anchor="ctr"/>
          <a:lstStyle>
            <a:lvl1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800" b="1" cap="none">
                <a:solidFill>
                  <a:schemeClr val="bg1"/>
                </a:solidFill>
              </a:defRPr>
            </a:lvl1pPr>
            <a:lvl2pPr marL="0" indent="0" algn="ctr">
              <a:lnSpc>
                <a:spcPct val="100000"/>
              </a:lnSpc>
              <a:buNone/>
              <a:defRPr sz="1800" b="1" cap="none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buNone/>
              <a:defRPr sz="1800" b="1" cap="none">
                <a:solidFill>
                  <a:schemeClr val="bg1"/>
                </a:solidFill>
              </a:defRPr>
            </a:lvl3pPr>
            <a:lvl4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800" b="1" cap="none">
                <a:solidFill>
                  <a:schemeClr val="bg1"/>
                </a:solidFill>
              </a:defRPr>
            </a:lvl4pPr>
            <a:lvl5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800" b="1" cap="none">
                <a:solidFill>
                  <a:schemeClr val="bg1"/>
                </a:solidFill>
              </a:defRPr>
            </a:lvl5pPr>
            <a:lvl6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800" b="1" cap="none">
                <a:solidFill>
                  <a:schemeClr val="bg1"/>
                </a:solidFill>
              </a:defRPr>
            </a:lvl6pPr>
            <a:lvl7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800" b="1" cap="none">
                <a:solidFill>
                  <a:schemeClr val="bg1"/>
                </a:solidFill>
              </a:defRPr>
            </a:lvl7pPr>
            <a:lvl8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800" b="1" cap="none">
                <a:solidFill>
                  <a:schemeClr val="bg1"/>
                </a:solidFill>
              </a:defRPr>
            </a:lvl8pPr>
            <a:lvl9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800" b="1" cap="none">
                <a:solidFill>
                  <a:schemeClr val="bg1"/>
                </a:solidFill>
              </a:defRPr>
            </a:lvl9pPr>
          </a:lstStyle>
          <a:p>
            <a:pPr lvl="0"/>
            <a:r>
              <a:rPr lang="sk-SK" noProof="0" dirty="0"/>
              <a:t>NR</a:t>
            </a:r>
          </a:p>
        </p:txBody>
      </p:sp>
      <p:sp>
        <p:nvSpPr>
          <p:cNvPr id="33" name="Text Placeholder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688013" y="1232694"/>
            <a:ext cx="378000" cy="378000"/>
          </a:xfrm>
          <a:solidFill>
            <a:schemeClr val="accent2"/>
          </a:solidFill>
        </p:spPr>
        <p:txBody>
          <a:bodyPr wrap="none" rIns="0" anchor="ctr"/>
          <a:lstStyle>
            <a:lvl1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800" b="1" cap="none">
                <a:solidFill>
                  <a:schemeClr val="bg1"/>
                </a:solidFill>
              </a:defRPr>
            </a:lvl1pPr>
            <a:lvl2pPr marL="0" indent="0" algn="ctr">
              <a:lnSpc>
                <a:spcPct val="100000"/>
              </a:lnSpc>
              <a:buNone/>
              <a:defRPr sz="1800" b="1" cap="none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buNone/>
              <a:defRPr sz="1800" b="1" cap="none">
                <a:solidFill>
                  <a:schemeClr val="bg1"/>
                </a:solidFill>
              </a:defRPr>
            </a:lvl3pPr>
            <a:lvl4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800" b="1" cap="none">
                <a:solidFill>
                  <a:schemeClr val="bg1"/>
                </a:solidFill>
              </a:defRPr>
            </a:lvl4pPr>
            <a:lvl5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800" b="1" cap="none">
                <a:solidFill>
                  <a:schemeClr val="bg1"/>
                </a:solidFill>
              </a:defRPr>
            </a:lvl5pPr>
            <a:lvl6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800" b="1" cap="none">
                <a:solidFill>
                  <a:schemeClr val="bg1"/>
                </a:solidFill>
              </a:defRPr>
            </a:lvl6pPr>
            <a:lvl7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800" b="1" cap="none">
                <a:solidFill>
                  <a:schemeClr val="bg1"/>
                </a:solidFill>
              </a:defRPr>
            </a:lvl7pPr>
            <a:lvl8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800" b="1" cap="none">
                <a:solidFill>
                  <a:schemeClr val="bg1"/>
                </a:solidFill>
              </a:defRPr>
            </a:lvl8pPr>
            <a:lvl9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800" b="1" cap="none">
                <a:solidFill>
                  <a:schemeClr val="bg1"/>
                </a:solidFill>
              </a:defRPr>
            </a:lvl9pPr>
          </a:lstStyle>
          <a:p>
            <a:pPr lvl="0"/>
            <a:r>
              <a:rPr lang="sk-SK" noProof="0" dirty="0"/>
              <a:t>NR</a:t>
            </a:r>
          </a:p>
        </p:txBody>
      </p:sp>
      <p:sp>
        <p:nvSpPr>
          <p:cNvPr id="34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5688013" y="1734014"/>
            <a:ext cx="378000" cy="378000"/>
          </a:xfrm>
          <a:solidFill>
            <a:schemeClr val="accent2"/>
          </a:solidFill>
        </p:spPr>
        <p:txBody>
          <a:bodyPr wrap="none" rIns="0" anchor="ctr"/>
          <a:lstStyle>
            <a:lvl1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800" b="1" cap="none">
                <a:solidFill>
                  <a:schemeClr val="bg1"/>
                </a:solidFill>
              </a:defRPr>
            </a:lvl1pPr>
            <a:lvl2pPr marL="0" indent="0" algn="ctr">
              <a:lnSpc>
                <a:spcPct val="100000"/>
              </a:lnSpc>
              <a:buNone/>
              <a:defRPr sz="1800" b="1" cap="none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buNone/>
              <a:defRPr sz="1800" b="1" cap="none">
                <a:solidFill>
                  <a:schemeClr val="bg1"/>
                </a:solidFill>
              </a:defRPr>
            </a:lvl3pPr>
            <a:lvl4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800" b="1" cap="none">
                <a:solidFill>
                  <a:schemeClr val="bg1"/>
                </a:solidFill>
              </a:defRPr>
            </a:lvl4pPr>
            <a:lvl5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800" b="1" cap="none">
                <a:solidFill>
                  <a:schemeClr val="bg1"/>
                </a:solidFill>
              </a:defRPr>
            </a:lvl5pPr>
            <a:lvl6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800" b="1" cap="none">
                <a:solidFill>
                  <a:schemeClr val="bg1"/>
                </a:solidFill>
              </a:defRPr>
            </a:lvl6pPr>
            <a:lvl7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800" b="1" cap="none">
                <a:solidFill>
                  <a:schemeClr val="bg1"/>
                </a:solidFill>
              </a:defRPr>
            </a:lvl7pPr>
            <a:lvl8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800" b="1" cap="none">
                <a:solidFill>
                  <a:schemeClr val="bg1"/>
                </a:solidFill>
              </a:defRPr>
            </a:lvl8pPr>
            <a:lvl9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800" b="1" cap="none">
                <a:solidFill>
                  <a:schemeClr val="bg1"/>
                </a:solidFill>
              </a:defRPr>
            </a:lvl9pPr>
          </a:lstStyle>
          <a:p>
            <a:pPr lvl="0"/>
            <a:r>
              <a:rPr lang="sk-SK" noProof="0" dirty="0"/>
              <a:t>NR</a:t>
            </a:r>
          </a:p>
        </p:txBody>
      </p:sp>
      <p:sp>
        <p:nvSpPr>
          <p:cNvPr id="35" name="Text Placeholder 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5688013" y="2235334"/>
            <a:ext cx="378000" cy="378000"/>
          </a:xfrm>
          <a:solidFill>
            <a:schemeClr val="accent2"/>
          </a:solidFill>
        </p:spPr>
        <p:txBody>
          <a:bodyPr wrap="none" rIns="0" anchor="ctr"/>
          <a:lstStyle>
            <a:lvl1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800" b="1" cap="none">
                <a:solidFill>
                  <a:schemeClr val="bg1"/>
                </a:solidFill>
              </a:defRPr>
            </a:lvl1pPr>
            <a:lvl2pPr marL="0" indent="0" algn="ctr">
              <a:lnSpc>
                <a:spcPct val="100000"/>
              </a:lnSpc>
              <a:buNone/>
              <a:defRPr sz="1800" b="1" cap="none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buNone/>
              <a:defRPr sz="1800" b="1" cap="none">
                <a:solidFill>
                  <a:schemeClr val="bg1"/>
                </a:solidFill>
              </a:defRPr>
            </a:lvl3pPr>
            <a:lvl4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800" b="1" cap="none">
                <a:solidFill>
                  <a:schemeClr val="bg1"/>
                </a:solidFill>
              </a:defRPr>
            </a:lvl4pPr>
            <a:lvl5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800" b="1" cap="none">
                <a:solidFill>
                  <a:schemeClr val="bg1"/>
                </a:solidFill>
              </a:defRPr>
            </a:lvl5pPr>
            <a:lvl6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800" b="1" cap="none">
                <a:solidFill>
                  <a:schemeClr val="bg1"/>
                </a:solidFill>
              </a:defRPr>
            </a:lvl6pPr>
            <a:lvl7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800" b="1" cap="none">
                <a:solidFill>
                  <a:schemeClr val="bg1"/>
                </a:solidFill>
              </a:defRPr>
            </a:lvl7pPr>
            <a:lvl8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800" b="1" cap="none">
                <a:solidFill>
                  <a:schemeClr val="bg1"/>
                </a:solidFill>
              </a:defRPr>
            </a:lvl8pPr>
            <a:lvl9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800" b="1" cap="none">
                <a:solidFill>
                  <a:schemeClr val="bg1"/>
                </a:solidFill>
              </a:defRPr>
            </a:lvl9pPr>
          </a:lstStyle>
          <a:p>
            <a:pPr lvl="0"/>
            <a:r>
              <a:rPr lang="sk-SK" noProof="0" dirty="0"/>
              <a:t>NR</a:t>
            </a:r>
          </a:p>
        </p:txBody>
      </p:sp>
      <p:sp>
        <p:nvSpPr>
          <p:cNvPr id="36" name="Text Placeholder 2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5688013" y="2736654"/>
            <a:ext cx="378000" cy="378000"/>
          </a:xfrm>
          <a:solidFill>
            <a:schemeClr val="accent2"/>
          </a:solidFill>
        </p:spPr>
        <p:txBody>
          <a:bodyPr wrap="none" rIns="0" anchor="ctr"/>
          <a:lstStyle>
            <a:lvl1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800" b="1" cap="none">
                <a:solidFill>
                  <a:schemeClr val="bg1"/>
                </a:solidFill>
              </a:defRPr>
            </a:lvl1pPr>
            <a:lvl2pPr marL="0" indent="0" algn="ctr">
              <a:lnSpc>
                <a:spcPct val="100000"/>
              </a:lnSpc>
              <a:buNone/>
              <a:defRPr sz="1800" b="1" cap="none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buNone/>
              <a:defRPr sz="1800" b="1" cap="none">
                <a:solidFill>
                  <a:schemeClr val="bg1"/>
                </a:solidFill>
              </a:defRPr>
            </a:lvl3pPr>
            <a:lvl4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800" b="1" cap="none">
                <a:solidFill>
                  <a:schemeClr val="bg1"/>
                </a:solidFill>
              </a:defRPr>
            </a:lvl4pPr>
            <a:lvl5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800" b="1" cap="none">
                <a:solidFill>
                  <a:schemeClr val="bg1"/>
                </a:solidFill>
              </a:defRPr>
            </a:lvl5pPr>
            <a:lvl6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800" b="1" cap="none">
                <a:solidFill>
                  <a:schemeClr val="bg1"/>
                </a:solidFill>
              </a:defRPr>
            </a:lvl6pPr>
            <a:lvl7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800" b="1" cap="none">
                <a:solidFill>
                  <a:schemeClr val="bg1"/>
                </a:solidFill>
              </a:defRPr>
            </a:lvl7pPr>
            <a:lvl8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800" b="1" cap="none">
                <a:solidFill>
                  <a:schemeClr val="bg1"/>
                </a:solidFill>
              </a:defRPr>
            </a:lvl8pPr>
            <a:lvl9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800" b="1" cap="none">
                <a:solidFill>
                  <a:schemeClr val="bg1"/>
                </a:solidFill>
              </a:defRPr>
            </a:lvl9pPr>
          </a:lstStyle>
          <a:p>
            <a:pPr lvl="0"/>
            <a:r>
              <a:rPr lang="sk-SK" noProof="0" dirty="0"/>
              <a:t>NR</a:t>
            </a:r>
          </a:p>
        </p:txBody>
      </p:sp>
      <p:sp>
        <p:nvSpPr>
          <p:cNvPr id="37" name="Text Placeholder 2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5688013" y="3237972"/>
            <a:ext cx="378000" cy="378000"/>
          </a:xfrm>
          <a:solidFill>
            <a:schemeClr val="accent2"/>
          </a:solidFill>
        </p:spPr>
        <p:txBody>
          <a:bodyPr wrap="none" rIns="0" anchor="ctr"/>
          <a:lstStyle>
            <a:lvl1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800" b="1" cap="none">
                <a:solidFill>
                  <a:schemeClr val="bg1"/>
                </a:solidFill>
              </a:defRPr>
            </a:lvl1pPr>
            <a:lvl2pPr marL="0" indent="0" algn="ctr">
              <a:lnSpc>
                <a:spcPct val="100000"/>
              </a:lnSpc>
              <a:buNone/>
              <a:defRPr sz="1800" b="1" cap="none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buNone/>
              <a:defRPr sz="1800" b="1" cap="none">
                <a:solidFill>
                  <a:schemeClr val="bg1"/>
                </a:solidFill>
              </a:defRPr>
            </a:lvl3pPr>
            <a:lvl4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800" b="1" cap="none">
                <a:solidFill>
                  <a:schemeClr val="bg1"/>
                </a:solidFill>
              </a:defRPr>
            </a:lvl4pPr>
            <a:lvl5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800" b="1" cap="none">
                <a:solidFill>
                  <a:schemeClr val="bg1"/>
                </a:solidFill>
              </a:defRPr>
            </a:lvl5pPr>
            <a:lvl6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800" b="1" cap="none">
                <a:solidFill>
                  <a:schemeClr val="bg1"/>
                </a:solidFill>
              </a:defRPr>
            </a:lvl6pPr>
            <a:lvl7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800" b="1" cap="none">
                <a:solidFill>
                  <a:schemeClr val="bg1"/>
                </a:solidFill>
              </a:defRPr>
            </a:lvl7pPr>
            <a:lvl8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800" b="1" cap="none">
                <a:solidFill>
                  <a:schemeClr val="bg1"/>
                </a:solidFill>
              </a:defRPr>
            </a:lvl8pPr>
            <a:lvl9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800" b="1" cap="none">
                <a:solidFill>
                  <a:schemeClr val="bg1"/>
                </a:solidFill>
              </a:defRPr>
            </a:lvl9pPr>
          </a:lstStyle>
          <a:p>
            <a:pPr lvl="0"/>
            <a:r>
              <a:rPr lang="sk-SK" noProof="0" dirty="0"/>
              <a:t>NR</a:t>
            </a:r>
          </a:p>
        </p:txBody>
      </p:sp>
      <p:sp>
        <p:nvSpPr>
          <p:cNvPr id="39" name="Text Placeholder 4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3600450" y="1233488"/>
            <a:ext cx="1943100" cy="377206"/>
          </a:xfrm>
        </p:spPr>
        <p:txBody>
          <a:bodyPr anchor="ctr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none" baseline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cap="none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cap="none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none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none">
                <a:solidFill>
                  <a:schemeClr val="tx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none">
                <a:solidFill>
                  <a:schemeClr val="tx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none">
                <a:solidFill>
                  <a:schemeClr val="tx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none">
                <a:solidFill>
                  <a:schemeClr val="tx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none">
                <a:solidFill>
                  <a:schemeClr val="tx1"/>
                </a:solidFill>
              </a:defRPr>
            </a:lvl9pPr>
          </a:lstStyle>
          <a:p>
            <a:pPr lvl="0"/>
            <a:r>
              <a:rPr lang="sk-SK" noProof="0" dirty="0"/>
              <a:t>Téma agendy – </a:t>
            </a:r>
            <a:br>
              <a:rPr lang="sk-SK" noProof="0" dirty="0"/>
            </a:br>
            <a:r>
              <a:rPr lang="sk-SK" noProof="0" dirty="0"/>
              <a:t>maximálne 2 riadky</a:t>
            </a:r>
          </a:p>
        </p:txBody>
      </p:sp>
      <p:sp>
        <p:nvSpPr>
          <p:cNvPr id="44" name="Text Placeholder 4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3600450" y="1734609"/>
            <a:ext cx="1943100" cy="377206"/>
          </a:xfrm>
        </p:spPr>
        <p:txBody>
          <a:bodyPr anchor="ctr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none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cap="none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cap="none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none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none">
                <a:solidFill>
                  <a:schemeClr val="tx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none">
                <a:solidFill>
                  <a:schemeClr val="tx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none">
                <a:solidFill>
                  <a:schemeClr val="tx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none">
                <a:solidFill>
                  <a:schemeClr val="tx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none">
                <a:solidFill>
                  <a:schemeClr val="tx1"/>
                </a:solidFill>
              </a:defRPr>
            </a:lvl9pPr>
          </a:lstStyle>
          <a:p>
            <a:pPr lvl="0"/>
            <a:r>
              <a:rPr lang="sk-SK" noProof="0" dirty="0"/>
              <a:t>Téma agendy – </a:t>
            </a:r>
            <a:br>
              <a:rPr lang="sk-SK" noProof="0" dirty="0"/>
            </a:br>
            <a:r>
              <a:rPr lang="sk-SK" noProof="0" dirty="0"/>
              <a:t>maximálne 2 riadky</a:t>
            </a:r>
          </a:p>
        </p:txBody>
      </p:sp>
      <p:sp>
        <p:nvSpPr>
          <p:cNvPr id="45" name="Text Placeholder 4"/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3600450" y="2235730"/>
            <a:ext cx="1943100" cy="377206"/>
          </a:xfrm>
        </p:spPr>
        <p:txBody>
          <a:bodyPr anchor="ctr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none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cap="none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cap="none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none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none">
                <a:solidFill>
                  <a:schemeClr val="tx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none">
                <a:solidFill>
                  <a:schemeClr val="tx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none">
                <a:solidFill>
                  <a:schemeClr val="tx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none">
                <a:solidFill>
                  <a:schemeClr val="tx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none">
                <a:solidFill>
                  <a:schemeClr val="tx1"/>
                </a:solidFill>
              </a:defRPr>
            </a:lvl9pPr>
          </a:lstStyle>
          <a:p>
            <a:pPr lvl="0"/>
            <a:r>
              <a:rPr lang="sk-SK" noProof="0" dirty="0"/>
              <a:t>Téma agendy – </a:t>
            </a:r>
            <a:br>
              <a:rPr lang="sk-SK" noProof="0" dirty="0"/>
            </a:br>
            <a:r>
              <a:rPr lang="sk-SK" noProof="0" dirty="0"/>
              <a:t>maximálne 2 riadky</a:t>
            </a:r>
          </a:p>
        </p:txBody>
      </p:sp>
      <p:sp>
        <p:nvSpPr>
          <p:cNvPr id="46" name="Text Placeholder 4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3600450" y="2736851"/>
            <a:ext cx="1943100" cy="377206"/>
          </a:xfrm>
        </p:spPr>
        <p:txBody>
          <a:bodyPr anchor="ctr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none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cap="none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cap="none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none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none">
                <a:solidFill>
                  <a:schemeClr val="tx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none">
                <a:solidFill>
                  <a:schemeClr val="tx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none">
                <a:solidFill>
                  <a:schemeClr val="tx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none">
                <a:solidFill>
                  <a:schemeClr val="tx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none">
                <a:solidFill>
                  <a:schemeClr val="tx1"/>
                </a:solidFill>
              </a:defRPr>
            </a:lvl9pPr>
          </a:lstStyle>
          <a:p>
            <a:pPr lvl="0"/>
            <a:r>
              <a:rPr lang="sk-SK" noProof="0" dirty="0"/>
              <a:t>Téma agendy – </a:t>
            </a:r>
            <a:br>
              <a:rPr lang="sk-SK" noProof="0" dirty="0"/>
            </a:br>
            <a:r>
              <a:rPr lang="sk-SK" noProof="0" dirty="0"/>
              <a:t>maximálne 2 riadky</a:t>
            </a:r>
          </a:p>
        </p:txBody>
      </p:sp>
      <p:sp>
        <p:nvSpPr>
          <p:cNvPr id="47" name="Text Placeholder 4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3600450" y="3237972"/>
            <a:ext cx="1943100" cy="377206"/>
          </a:xfrm>
        </p:spPr>
        <p:txBody>
          <a:bodyPr anchor="ctr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none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cap="none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cap="none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none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none">
                <a:solidFill>
                  <a:schemeClr val="tx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none">
                <a:solidFill>
                  <a:schemeClr val="tx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none">
                <a:solidFill>
                  <a:schemeClr val="tx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none">
                <a:solidFill>
                  <a:schemeClr val="tx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none">
                <a:solidFill>
                  <a:schemeClr val="tx1"/>
                </a:solidFill>
              </a:defRPr>
            </a:lvl9pPr>
          </a:lstStyle>
          <a:p>
            <a:pPr lvl="0"/>
            <a:r>
              <a:rPr lang="sk-SK" noProof="0" dirty="0"/>
              <a:t>Téma agendy – </a:t>
            </a:r>
            <a:br>
              <a:rPr lang="sk-SK" noProof="0" dirty="0"/>
            </a:br>
            <a:r>
              <a:rPr lang="sk-SK" noProof="0" dirty="0"/>
              <a:t>maximálne 2 riadky</a:t>
            </a:r>
          </a:p>
        </p:txBody>
      </p:sp>
      <p:sp>
        <p:nvSpPr>
          <p:cNvPr id="48" name="Text Placeholder 4"/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6210475" y="1233488"/>
            <a:ext cx="1943100" cy="377206"/>
          </a:xfrm>
        </p:spPr>
        <p:txBody>
          <a:bodyPr anchor="ctr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none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cap="none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cap="none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none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none">
                <a:solidFill>
                  <a:schemeClr val="tx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none">
                <a:solidFill>
                  <a:schemeClr val="tx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none">
                <a:solidFill>
                  <a:schemeClr val="tx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none">
                <a:solidFill>
                  <a:schemeClr val="tx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none">
                <a:solidFill>
                  <a:schemeClr val="tx1"/>
                </a:solidFill>
              </a:defRPr>
            </a:lvl9pPr>
          </a:lstStyle>
          <a:p>
            <a:pPr lvl="0"/>
            <a:r>
              <a:rPr lang="sk-SK" noProof="0" dirty="0"/>
              <a:t>Téma agendy – </a:t>
            </a:r>
            <a:br>
              <a:rPr lang="sk-SK" noProof="0" dirty="0"/>
            </a:br>
            <a:r>
              <a:rPr lang="sk-SK" noProof="0" dirty="0"/>
              <a:t>maximálne 2 riadky</a:t>
            </a:r>
          </a:p>
        </p:txBody>
      </p:sp>
      <p:sp>
        <p:nvSpPr>
          <p:cNvPr id="49" name="Text Placeholder 4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6210475" y="1734609"/>
            <a:ext cx="1943100" cy="377206"/>
          </a:xfrm>
        </p:spPr>
        <p:txBody>
          <a:bodyPr anchor="ctr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none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cap="none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cap="none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none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none">
                <a:solidFill>
                  <a:schemeClr val="tx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none">
                <a:solidFill>
                  <a:schemeClr val="tx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none">
                <a:solidFill>
                  <a:schemeClr val="tx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none">
                <a:solidFill>
                  <a:schemeClr val="tx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none">
                <a:solidFill>
                  <a:schemeClr val="tx1"/>
                </a:solidFill>
              </a:defRPr>
            </a:lvl9pPr>
          </a:lstStyle>
          <a:p>
            <a:pPr lvl="0"/>
            <a:r>
              <a:rPr lang="sk-SK" noProof="0" dirty="0"/>
              <a:t>Téma agendy – </a:t>
            </a:r>
            <a:br>
              <a:rPr lang="sk-SK" noProof="0" dirty="0"/>
            </a:br>
            <a:r>
              <a:rPr lang="sk-SK" noProof="0" dirty="0"/>
              <a:t>maximálne 2 riadky</a:t>
            </a:r>
          </a:p>
        </p:txBody>
      </p:sp>
      <p:sp>
        <p:nvSpPr>
          <p:cNvPr id="54" name="Text Placeholder 4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6210475" y="2235730"/>
            <a:ext cx="1943100" cy="377206"/>
          </a:xfrm>
        </p:spPr>
        <p:txBody>
          <a:bodyPr anchor="ctr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none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cap="none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cap="none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none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none">
                <a:solidFill>
                  <a:schemeClr val="tx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none">
                <a:solidFill>
                  <a:schemeClr val="tx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none">
                <a:solidFill>
                  <a:schemeClr val="tx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none">
                <a:solidFill>
                  <a:schemeClr val="tx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none">
                <a:solidFill>
                  <a:schemeClr val="tx1"/>
                </a:solidFill>
              </a:defRPr>
            </a:lvl9pPr>
          </a:lstStyle>
          <a:p>
            <a:pPr lvl="0"/>
            <a:r>
              <a:rPr lang="sk-SK" noProof="0" dirty="0"/>
              <a:t>Téma agendy – </a:t>
            </a:r>
            <a:br>
              <a:rPr lang="sk-SK" noProof="0" dirty="0"/>
            </a:br>
            <a:r>
              <a:rPr lang="sk-SK" noProof="0" dirty="0"/>
              <a:t>maximálne 2 riadky</a:t>
            </a:r>
          </a:p>
        </p:txBody>
      </p:sp>
      <p:sp>
        <p:nvSpPr>
          <p:cNvPr id="55" name="Text Placeholder 4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6210475" y="2736851"/>
            <a:ext cx="1943100" cy="377206"/>
          </a:xfrm>
        </p:spPr>
        <p:txBody>
          <a:bodyPr anchor="ctr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none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cap="none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cap="none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none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none">
                <a:solidFill>
                  <a:schemeClr val="tx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none">
                <a:solidFill>
                  <a:schemeClr val="tx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none">
                <a:solidFill>
                  <a:schemeClr val="tx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none">
                <a:solidFill>
                  <a:schemeClr val="tx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none">
                <a:solidFill>
                  <a:schemeClr val="tx1"/>
                </a:solidFill>
              </a:defRPr>
            </a:lvl9pPr>
          </a:lstStyle>
          <a:p>
            <a:pPr lvl="0"/>
            <a:r>
              <a:rPr lang="sk-SK" noProof="0" dirty="0"/>
              <a:t>Téma agendy – </a:t>
            </a:r>
            <a:br>
              <a:rPr lang="sk-SK" noProof="0" dirty="0"/>
            </a:br>
            <a:r>
              <a:rPr lang="sk-SK" noProof="0" dirty="0"/>
              <a:t>maximálne 2 riadky</a:t>
            </a:r>
          </a:p>
        </p:txBody>
      </p:sp>
      <p:sp>
        <p:nvSpPr>
          <p:cNvPr id="56" name="Text Placeholder 4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6210475" y="3237972"/>
            <a:ext cx="1943100" cy="377206"/>
          </a:xfrm>
        </p:spPr>
        <p:txBody>
          <a:bodyPr anchor="ctr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none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cap="none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cap="none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none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none">
                <a:solidFill>
                  <a:schemeClr val="tx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none">
                <a:solidFill>
                  <a:schemeClr val="tx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none">
                <a:solidFill>
                  <a:schemeClr val="tx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none">
                <a:solidFill>
                  <a:schemeClr val="tx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cap="none">
                <a:solidFill>
                  <a:schemeClr val="tx1"/>
                </a:solidFill>
              </a:defRPr>
            </a:lvl9pPr>
          </a:lstStyle>
          <a:p>
            <a:pPr lvl="0"/>
            <a:r>
              <a:rPr lang="sk-SK" noProof="0" dirty="0"/>
              <a:t>Téma agendy – </a:t>
            </a:r>
            <a:br>
              <a:rPr lang="sk-SK" noProof="0" dirty="0"/>
            </a:br>
            <a:r>
              <a:rPr lang="sk-SK" noProof="0" dirty="0"/>
              <a:t>maximálne 2 riadky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288" y="1527175"/>
            <a:ext cx="2160587" cy="1941196"/>
          </a:xfrm>
        </p:spPr>
        <p:txBody>
          <a:bodyPr anchor="ctr"/>
          <a:lstStyle>
            <a:lvl1pPr>
              <a:defRPr sz="1800" b="1" cap="all" baseline="0"/>
            </a:lvl1pPr>
          </a:lstStyle>
          <a:p>
            <a:r>
              <a:rPr lang="sk-SK" noProof="0" dirty="0"/>
              <a:t>Agenda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3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2861D7D-182C-4BD3-BD94-C6E80F60D604}" type="datetime1">
              <a:rPr lang="sk-SK" noProof="0" smtClean="0"/>
              <a:t>30. 11. 2020</a:t>
            </a:fld>
            <a:endParaRPr lang="sk-SK" noProof="0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3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sk-SK" noProof="0"/>
              <a:t>Päta</a:t>
            </a:r>
            <a:endParaRPr lang="sk-SK" noProof="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sk-SK" noProof="0" dirty="0"/>
              <a:t> </a:t>
            </a:r>
            <a:r>
              <a:rPr lang="sk-SK" noProof="0" dirty="0">
                <a:sym typeface="Wingdings"/>
              </a:rPr>
              <a:t>  </a:t>
            </a:r>
            <a:fld id="{443B15C8-972D-49F6-9B7C-5A2154A8C95F}" type="slidenum">
              <a:rPr lang="sk-SK" noProof="0" smtClean="0"/>
              <a:pPr/>
              <a:t>‹#›</a:t>
            </a:fld>
            <a:endParaRPr lang="sk-SK" noProof="0" dirty="0"/>
          </a:p>
        </p:txBody>
      </p:sp>
    </p:spTree>
    <p:extLst>
      <p:ext uri="{BB962C8B-B14F-4D97-AF65-F5344CB8AC3E}">
        <p14:creationId xmlns:p14="http://schemas.microsoft.com/office/powerpoint/2010/main" val="2907081059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95289" y="1131889"/>
            <a:ext cx="8353424" cy="3456085"/>
          </a:xfrm>
        </p:spPr>
        <p:txBody>
          <a:bodyPr/>
          <a:lstStyle>
            <a:lvl1pPr>
              <a:defRPr/>
            </a:lvl1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sk-SK" noProof="0" dirty="0"/>
              <a:t>Tu napíšte svoj text.</a:t>
            </a: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395287" y="267494"/>
            <a:ext cx="8350079" cy="180181"/>
          </a:xfrm>
        </p:spPr>
        <p:txBody>
          <a:bodyPr wrap="none" bIns="18000"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1" cap="all" baseline="0">
                <a:solidFill>
                  <a:schemeClr val="accent4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1" cap="all">
                <a:solidFill>
                  <a:schemeClr val="accent4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1" cap="all">
                <a:solidFill>
                  <a:schemeClr val="accent4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1" cap="all">
                <a:solidFill>
                  <a:schemeClr val="accent4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1" cap="all">
                <a:solidFill>
                  <a:schemeClr val="accent4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1" cap="all">
                <a:solidFill>
                  <a:schemeClr val="accent4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1" cap="all">
                <a:solidFill>
                  <a:schemeClr val="accent4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1" cap="all">
                <a:solidFill>
                  <a:schemeClr val="accent4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1" cap="all">
                <a:solidFill>
                  <a:schemeClr val="accent4"/>
                </a:solidFill>
              </a:defRPr>
            </a:lvl9pPr>
          </a:lstStyle>
          <a:p>
            <a:pPr lvl="0"/>
            <a:r>
              <a:rPr lang="sk-SK" noProof="0" dirty="0"/>
              <a:t>NÁZOV KAPITOLY (VOLITEĽNÁ MOŽNOSŤ)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sk-SK" noProof="0" dirty="0"/>
              <a:t>Názov snímky</a:t>
            </a:r>
            <a:br>
              <a:rPr lang="sk-SK" noProof="0" dirty="0"/>
            </a:br>
            <a:r>
              <a:rPr lang="sk-SK" noProof="0" dirty="0"/>
              <a:t>- maximálne 2 riadky</a:t>
            </a:r>
          </a:p>
        </p:txBody>
      </p:sp>
      <p:sp>
        <p:nvSpPr>
          <p:cNvPr id="9" name="Textplatzhalter 4"/>
          <p:cNvSpPr>
            <a:spLocks noGrp="1"/>
          </p:cNvSpPr>
          <p:nvPr>
            <p:ph type="body" sz="quarter" idx="28" hasCustomPrompt="1"/>
          </p:nvPr>
        </p:nvSpPr>
        <p:spPr>
          <a:xfrm>
            <a:off x="395287" y="4836160"/>
            <a:ext cx="4176713" cy="136050"/>
          </a:xfrm>
        </p:spPr>
        <p:txBody>
          <a:bodyPr rIns="72000" anchor="b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00" b="0" cap="none" baseline="0">
                <a:solidFill>
                  <a:schemeClr val="tx2"/>
                </a:solidFill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00" b="0" cap="none" baseline="0">
                <a:solidFill>
                  <a:schemeClr val="tx2"/>
                </a:solidFill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600" b="0" cap="none" baseline="0">
                <a:solidFill>
                  <a:schemeClr val="tx2"/>
                </a:solidFill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600" b="0" cap="none" baseline="0">
                <a:solidFill>
                  <a:schemeClr val="tx2"/>
                </a:solidFill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00" b="0" cap="none" baseline="0">
                <a:solidFill>
                  <a:schemeClr val="tx2"/>
                </a:solidFill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00" b="0" cap="none" baseline="0">
                <a:solidFill>
                  <a:schemeClr val="tx2"/>
                </a:solidFill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00" b="0" cap="none" baseline="0">
                <a:solidFill>
                  <a:schemeClr val="tx2"/>
                </a:solidFill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00" b="0" cap="none" baseline="0">
                <a:solidFill>
                  <a:schemeClr val="tx2"/>
                </a:solidFill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00" b="0" cap="none" baseline="0">
                <a:solidFill>
                  <a:schemeClr val="tx2"/>
                </a:solidFill>
              </a:defRPr>
            </a:lvl9pPr>
          </a:lstStyle>
          <a:p>
            <a:pPr lvl="0"/>
            <a:r>
              <a:rPr lang="sk-SK" noProof="0" dirty="0"/>
              <a:t>zdroj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fld id="{ABCC69BF-0892-4274-AFBF-9E0943657B84}" type="datetime1">
              <a:rPr lang="sk-SK" smtClean="0"/>
              <a:t>30. 11. 2020</a:t>
            </a:fld>
            <a:endParaRPr lang="sk-SK" dirty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r>
              <a:rPr lang="sk-SK" noProof="0"/>
              <a:t>Päta</a:t>
            </a:r>
            <a:endParaRPr lang="sk-SK" noProof="0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r>
              <a:rPr lang="sk-SK" noProof="0">
                <a:sym typeface="Wingdings"/>
              </a:rPr>
              <a:t>  </a:t>
            </a:r>
            <a:fld id="{443B15C8-972D-49F6-9B7C-5A2154A8C95F}" type="slidenum">
              <a:rPr lang="sk-SK" noProof="0" smtClean="0"/>
              <a:pPr/>
              <a:t>‹#›</a:t>
            </a:fld>
            <a:endParaRPr lang="sk-SK" noProof="0" dirty="0"/>
          </a:p>
        </p:txBody>
      </p:sp>
    </p:spTree>
    <p:extLst>
      <p:ext uri="{BB962C8B-B14F-4D97-AF65-F5344CB8AC3E}">
        <p14:creationId xmlns:p14="http://schemas.microsoft.com/office/powerpoint/2010/main" val="132796124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x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95288" y="1131889"/>
            <a:ext cx="4104712" cy="3456085"/>
          </a:xfrm>
        </p:spPr>
        <p:txBody>
          <a:bodyPr/>
          <a:lstStyle/>
          <a:p>
            <a:pPr lvl="0"/>
            <a:r>
              <a:rPr lang="sk-SK" noProof="0" dirty="0"/>
              <a:t>Tu napíšte svoj text.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4644000" y="1131889"/>
            <a:ext cx="4104712" cy="3456085"/>
          </a:xfrm>
        </p:spPr>
        <p:txBody>
          <a:bodyPr lIns="0"/>
          <a:lstStyle/>
          <a:p>
            <a:pPr lvl="0"/>
            <a:r>
              <a:rPr lang="sk-SK" noProof="0" dirty="0"/>
              <a:t>Tu napíšte svoj text.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sk-SK" noProof="0" dirty="0"/>
              <a:t>Názov snímky</a:t>
            </a:r>
            <a:br>
              <a:rPr lang="sk-SK" noProof="0" dirty="0"/>
            </a:br>
            <a:r>
              <a:rPr lang="sk-SK" noProof="0" dirty="0"/>
              <a:t>- maximálne 2 riadky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395287" y="267494"/>
            <a:ext cx="8353425" cy="180181"/>
          </a:xfrm>
        </p:spPr>
        <p:txBody>
          <a:bodyPr wrap="none" bIns="18000"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1" cap="all" baseline="0">
                <a:solidFill>
                  <a:schemeClr val="accent4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1" cap="all">
                <a:solidFill>
                  <a:schemeClr val="accent4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1" cap="all">
                <a:solidFill>
                  <a:schemeClr val="accent4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1" cap="all">
                <a:solidFill>
                  <a:schemeClr val="accent4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1" cap="all">
                <a:solidFill>
                  <a:schemeClr val="accent4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1" cap="all">
                <a:solidFill>
                  <a:schemeClr val="accent4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1" cap="all">
                <a:solidFill>
                  <a:schemeClr val="accent4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1" cap="all">
                <a:solidFill>
                  <a:schemeClr val="accent4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1" cap="all">
                <a:solidFill>
                  <a:schemeClr val="accent4"/>
                </a:solidFill>
              </a:defRPr>
            </a:lvl9pPr>
          </a:lstStyle>
          <a:p>
            <a:pPr lvl="0"/>
            <a:r>
              <a:rPr lang="sk-SK" noProof="0" dirty="0"/>
              <a:t>NÁZOV KAPITOLY (VOLITEĽNÁ MOŽNOSŤ)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fld id="{73C33525-6E87-445F-A521-C6B51CFCD13E}" type="datetime1">
              <a:rPr lang="sk-SK" noProof="0" smtClean="0"/>
              <a:t>30. 11. 2020</a:t>
            </a:fld>
            <a:endParaRPr lang="sk-SK" noProof="0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r>
              <a:rPr lang="sk-SK" noProof="0"/>
              <a:t>Päta</a:t>
            </a:r>
            <a:endParaRPr lang="sk-SK" noProof="0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r>
              <a:rPr lang="sk-SK" noProof="0" dirty="0">
                <a:sym typeface="Wingdings"/>
              </a:rPr>
              <a:t>  </a:t>
            </a:r>
            <a:fld id="{443B15C8-972D-49F6-9B7C-5A2154A8C95F}" type="slidenum">
              <a:rPr lang="sk-SK" noProof="0" smtClean="0"/>
              <a:pPr/>
              <a:t>‹#›</a:t>
            </a:fld>
            <a:endParaRPr lang="sk-SK" noProof="0" dirty="0"/>
          </a:p>
        </p:txBody>
      </p:sp>
      <p:sp>
        <p:nvSpPr>
          <p:cNvPr id="13" name="Textplatzhalter 4"/>
          <p:cNvSpPr>
            <a:spLocks noGrp="1"/>
          </p:cNvSpPr>
          <p:nvPr>
            <p:ph type="body" sz="quarter" idx="28" hasCustomPrompt="1"/>
          </p:nvPr>
        </p:nvSpPr>
        <p:spPr>
          <a:xfrm>
            <a:off x="395287" y="4836160"/>
            <a:ext cx="4176713" cy="136050"/>
          </a:xfrm>
        </p:spPr>
        <p:txBody>
          <a:bodyPr rIns="72000" anchor="b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00" b="0" cap="none" baseline="0">
                <a:solidFill>
                  <a:schemeClr val="tx2"/>
                </a:solidFill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00" b="0" cap="none" baseline="0">
                <a:solidFill>
                  <a:schemeClr val="tx2"/>
                </a:solidFill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600" b="0" cap="none" baseline="0">
                <a:solidFill>
                  <a:schemeClr val="tx2"/>
                </a:solidFill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600" b="0" cap="none" baseline="0">
                <a:solidFill>
                  <a:schemeClr val="tx2"/>
                </a:solidFill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00" b="0" cap="none" baseline="0">
                <a:solidFill>
                  <a:schemeClr val="tx2"/>
                </a:solidFill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00" b="0" cap="none" baseline="0">
                <a:solidFill>
                  <a:schemeClr val="tx2"/>
                </a:solidFill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00" b="0" cap="none" baseline="0">
                <a:solidFill>
                  <a:schemeClr val="tx2"/>
                </a:solidFill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00" b="0" cap="none" baseline="0">
                <a:solidFill>
                  <a:schemeClr val="tx2"/>
                </a:solidFill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00" b="0" cap="none" baseline="0">
                <a:solidFill>
                  <a:schemeClr val="tx2"/>
                </a:solidFill>
              </a:defRPr>
            </a:lvl9pPr>
          </a:lstStyle>
          <a:p>
            <a:pPr lvl="0"/>
            <a:r>
              <a:rPr lang="sk-SK" noProof="0" dirty="0"/>
              <a:t>zdroj</a:t>
            </a:r>
          </a:p>
        </p:txBody>
      </p:sp>
    </p:spTree>
    <p:extLst>
      <p:ext uri="{BB962C8B-B14F-4D97-AF65-F5344CB8AC3E}">
        <p14:creationId xmlns:p14="http://schemas.microsoft.com/office/powerpoint/2010/main" val="3022822854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x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95288" y="1131889"/>
            <a:ext cx="1980355" cy="3456085"/>
          </a:xfrm>
        </p:spPr>
        <p:txBody>
          <a:bodyPr/>
          <a:lstStyle/>
          <a:p>
            <a:pPr lvl="0"/>
            <a:r>
              <a:rPr lang="sk-SK" noProof="0" dirty="0"/>
              <a:t>Tu napíšte svoj text.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519644" y="1131889"/>
            <a:ext cx="1979860" cy="3456085"/>
          </a:xfrm>
        </p:spPr>
        <p:txBody>
          <a:bodyPr/>
          <a:lstStyle/>
          <a:p>
            <a:pPr lvl="0"/>
            <a:r>
              <a:rPr lang="sk-SK" noProof="0" dirty="0"/>
              <a:t>Tu napíšte svoj text.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4644496" y="1131889"/>
            <a:ext cx="1979860" cy="3456085"/>
          </a:xfrm>
        </p:spPr>
        <p:txBody>
          <a:bodyPr/>
          <a:lstStyle/>
          <a:p>
            <a:pPr lvl="0"/>
            <a:r>
              <a:rPr lang="sk-SK" noProof="0" dirty="0"/>
              <a:t>Tu napíšte svoj text.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6768355" y="1131889"/>
            <a:ext cx="1977011" cy="3456085"/>
          </a:xfrm>
        </p:spPr>
        <p:txBody>
          <a:bodyPr/>
          <a:lstStyle/>
          <a:p>
            <a:pPr lvl="0"/>
            <a:r>
              <a:rPr lang="sk-SK" noProof="0" dirty="0"/>
              <a:t>Tu napíšte svoj text.</a:t>
            </a:r>
          </a:p>
        </p:txBody>
      </p:sp>
      <p:sp>
        <p:nvSpPr>
          <p:cNvPr id="4" name="Titel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sk-SK" noProof="0" dirty="0"/>
              <a:t>Názov snímky</a:t>
            </a:r>
            <a:br>
              <a:rPr lang="sk-SK" noProof="0" dirty="0"/>
            </a:br>
            <a:r>
              <a:rPr lang="sk-SK" noProof="0" dirty="0"/>
              <a:t>- maximálne 2 riadky</a:t>
            </a:r>
          </a:p>
        </p:txBody>
      </p:sp>
      <p:sp>
        <p:nvSpPr>
          <p:cNvPr id="18" name="Text Placeholder 4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395287" y="267494"/>
            <a:ext cx="8353425" cy="180181"/>
          </a:xfrm>
        </p:spPr>
        <p:txBody>
          <a:bodyPr wrap="none" bIns="18000"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1" cap="all" baseline="0">
                <a:solidFill>
                  <a:schemeClr val="accent4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1" cap="all">
                <a:solidFill>
                  <a:schemeClr val="accent4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1" cap="all">
                <a:solidFill>
                  <a:schemeClr val="accent4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1" cap="all">
                <a:solidFill>
                  <a:schemeClr val="accent4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1" cap="all">
                <a:solidFill>
                  <a:schemeClr val="accent4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1" cap="all">
                <a:solidFill>
                  <a:schemeClr val="accent4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1" cap="all">
                <a:solidFill>
                  <a:schemeClr val="accent4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1" cap="all">
                <a:solidFill>
                  <a:schemeClr val="accent4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1" cap="all">
                <a:solidFill>
                  <a:schemeClr val="accent4"/>
                </a:solidFill>
              </a:defRPr>
            </a:lvl9pPr>
          </a:lstStyle>
          <a:p>
            <a:pPr lvl="0"/>
            <a:r>
              <a:rPr lang="sk-SK" noProof="0" dirty="0"/>
              <a:t>NÁZOV KAPITOLY (VOLITEĽNÁ MOŽNOSŤ)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fld id="{34B5BF51-DCA9-49DC-B6D9-DA6055FCE092}" type="datetime1">
              <a:rPr lang="sk-SK" noProof="0" smtClean="0"/>
              <a:t>30. 11. 2020</a:t>
            </a:fld>
            <a:endParaRPr lang="sk-SK" noProof="0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r>
              <a:rPr lang="sk-SK" noProof="0"/>
              <a:t>Päta</a:t>
            </a:r>
            <a:endParaRPr lang="sk-SK" noProof="0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r>
              <a:rPr lang="sk-SK" noProof="0" dirty="0">
                <a:sym typeface="Wingdings"/>
              </a:rPr>
              <a:t>  </a:t>
            </a:r>
            <a:fld id="{443B15C8-972D-49F6-9B7C-5A2154A8C95F}" type="slidenum">
              <a:rPr lang="sk-SK" noProof="0" smtClean="0"/>
              <a:pPr/>
              <a:t>‹#›</a:t>
            </a:fld>
            <a:endParaRPr lang="sk-SK" noProof="0" dirty="0"/>
          </a:p>
        </p:txBody>
      </p:sp>
      <p:sp>
        <p:nvSpPr>
          <p:cNvPr id="15" name="Textplatzhalter 4"/>
          <p:cNvSpPr>
            <a:spLocks noGrp="1"/>
          </p:cNvSpPr>
          <p:nvPr>
            <p:ph type="body" sz="quarter" idx="28" hasCustomPrompt="1"/>
          </p:nvPr>
        </p:nvSpPr>
        <p:spPr>
          <a:xfrm>
            <a:off x="395287" y="4836160"/>
            <a:ext cx="4176713" cy="136050"/>
          </a:xfrm>
        </p:spPr>
        <p:txBody>
          <a:bodyPr rIns="72000" anchor="b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00" b="0" cap="none" baseline="0">
                <a:solidFill>
                  <a:schemeClr val="tx2"/>
                </a:solidFill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00" b="0" cap="none" baseline="0">
                <a:solidFill>
                  <a:schemeClr val="tx2"/>
                </a:solidFill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600" b="0" cap="none" baseline="0">
                <a:solidFill>
                  <a:schemeClr val="tx2"/>
                </a:solidFill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600" b="0" cap="none" baseline="0">
                <a:solidFill>
                  <a:schemeClr val="tx2"/>
                </a:solidFill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00" b="0" cap="none" baseline="0">
                <a:solidFill>
                  <a:schemeClr val="tx2"/>
                </a:solidFill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00" b="0" cap="none" baseline="0">
                <a:solidFill>
                  <a:schemeClr val="tx2"/>
                </a:solidFill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00" b="0" cap="none" baseline="0">
                <a:solidFill>
                  <a:schemeClr val="tx2"/>
                </a:solidFill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00" b="0" cap="none" baseline="0">
                <a:solidFill>
                  <a:schemeClr val="tx2"/>
                </a:solidFill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00" b="0" cap="none" baseline="0">
                <a:solidFill>
                  <a:schemeClr val="tx2"/>
                </a:solidFill>
              </a:defRPr>
            </a:lvl9pPr>
          </a:lstStyle>
          <a:p>
            <a:pPr lvl="0"/>
            <a:r>
              <a:rPr lang="sk-SK" noProof="0" dirty="0"/>
              <a:t>zdroj</a:t>
            </a:r>
          </a:p>
        </p:txBody>
      </p:sp>
    </p:spTree>
    <p:extLst>
      <p:ext uri="{BB962C8B-B14F-4D97-AF65-F5344CB8AC3E}">
        <p14:creationId xmlns:p14="http://schemas.microsoft.com/office/powerpoint/2010/main" val="4207784815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3"/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395286" y="1131889"/>
            <a:ext cx="5794920" cy="3456085"/>
          </a:xfrm>
          <a:solidFill>
            <a:schemeClr val="accent3"/>
          </a:solidFill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sk-SK" noProof="0" dirty="0"/>
              <a:t>Kliknite na ikonu, aby ste mohli doplniť obrázok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334206" y="1131889"/>
            <a:ext cx="2411161" cy="3456085"/>
          </a:xfrm>
        </p:spPr>
        <p:txBody>
          <a:bodyPr lIns="0"/>
          <a:lstStyle/>
          <a:p>
            <a:pPr lvl="0"/>
            <a:r>
              <a:rPr lang="sk-SK" noProof="0" dirty="0"/>
              <a:t>Tu napíšte svoj text.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sk-SK" noProof="0" dirty="0"/>
              <a:t>Názov snímky</a:t>
            </a:r>
            <a:br>
              <a:rPr lang="sk-SK" noProof="0" dirty="0"/>
            </a:br>
            <a:r>
              <a:rPr lang="sk-SK" noProof="0" dirty="0"/>
              <a:t>- maximálne 2 riadky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395287" y="267494"/>
            <a:ext cx="8353425" cy="180181"/>
          </a:xfrm>
        </p:spPr>
        <p:txBody>
          <a:bodyPr wrap="none" bIns="18000"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1" cap="all" baseline="0">
                <a:solidFill>
                  <a:schemeClr val="accent4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1" cap="all">
                <a:solidFill>
                  <a:schemeClr val="accent4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1" cap="all">
                <a:solidFill>
                  <a:schemeClr val="accent4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1" cap="all">
                <a:solidFill>
                  <a:schemeClr val="accent4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1" cap="all">
                <a:solidFill>
                  <a:schemeClr val="accent4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1" cap="all">
                <a:solidFill>
                  <a:schemeClr val="accent4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1" cap="all">
                <a:solidFill>
                  <a:schemeClr val="accent4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1" cap="all">
                <a:solidFill>
                  <a:schemeClr val="accent4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1" cap="all">
                <a:solidFill>
                  <a:schemeClr val="accent4"/>
                </a:solidFill>
              </a:defRPr>
            </a:lvl9pPr>
          </a:lstStyle>
          <a:p>
            <a:pPr lvl="0"/>
            <a:r>
              <a:rPr lang="sk-SK" noProof="0" dirty="0"/>
              <a:t>NÁZOV KAPITOLY (VOLITEĽNÁ MOŽNOSŤ)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fld id="{31107739-C19B-4A80-B151-F6396A0481F3}" type="datetime1">
              <a:rPr lang="sk-SK" noProof="0" smtClean="0"/>
              <a:t>30. 11. 2020</a:t>
            </a:fld>
            <a:endParaRPr lang="sk-SK" noProof="0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r>
              <a:rPr lang="sk-SK" noProof="0"/>
              <a:t>Päta</a:t>
            </a:r>
            <a:endParaRPr lang="sk-SK" noProof="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r>
              <a:rPr lang="sk-SK" noProof="0" dirty="0">
                <a:sym typeface="Wingdings"/>
              </a:rPr>
              <a:t>  </a:t>
            </a:r>
            <a:fld id="{443B15C8-972D-49F6-9B7C-5A2154A8C95F}" type="slidenum">
              <a:rPr lang="sk-SK" noProof="0" smtClean="0"/>
              <a:pPr/>
              <a:t>‹#›</a:t>
            </a:fld>
            <a:endParaRPr lang="sk-SK" noProof="0" dirty="0"/>
          </a:p>
        </p:txBody>
      </p:sp>
      <p:sp>
        <p:nvSpPr>
          <p:cNvPr id="12" name="Textplatzhalter 4"/>
          <p:cNvSpPr>
            <a:spLocks noGrp="1"/>
          </p:cNvSpPr>
          <p:nvPr>
            <p:ph type="body" sz="quarter" idx="28" hasCustomPrompt="1"/>
          </p:nvPr>
        </p:nvSpPr>
        <p:spPr>
          <a:xfrm>
            <a:off x="395287" y="4836160"/>
            <a:ext cx="4176713" cy="136050"/>
          </a:xfrm>
        </p:spPr>
        <p:txBody>
          <a:bodyPr rIns="72000" anchor="b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00" b="0" cap="none" baseline="0">
                <a:solidFill>
                  <a:schemeClr val="tx2"/>
                </a:solidFill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00" b="0" cap="none" baseline="0">
                <a:solidFill>
                  <a:schemeClr val="tx2"/>
                </a:solidFill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600" b="0" cap="none" baseline="0">
                <a:solidFill>
                  <a:schemeClr val="tx2"/>
                </a:solidFill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600" b="0" cap="none" baseline="0">
                <a:solidFill>
                  <a:schemeClr val="tx2"/>
                </a:solidFill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00" b="0" cap="none" baseline="0">
                <a:solidFill>
                  <a:schemeClr val="tx2"/>
                </a:solidFill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00" b="0" cap="none" baseline="0">
                <a:solidFill>
                  <a:schemeClr val="tx2"/>
                </a:solidFill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00" b="0" cap="none" baseline="0">
                <a:solidFill>
                  <a:schemeClr val="tx2"/>
                </a:solidFill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00" b="0" cap="none" baseline="0">
                <a:solidFill>
                  <a:schemeClr val="tx2"/>
                </a:solidFill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00" b="0" cap="none" baseline="0">
                <a:solidFill>
                  <a:schemeClr val="tx2"/>
                </a:solidFill>
              </a:defRPr>
            </a:lvl9pPr>
          </a:lstStyle>
          <a:p>
            <a:pPr lvl="0"/>
            <a:r>
              <a:rPr lang="sk-SK" noProof="0" dirty="0"/>
              <a:t>zdroj</a:t>
            </a:r>
          </a:p>
        </p:txBody>
      </p:sp>
    </p:spTree>
    <p:extLst>
      <p:ext uri="{BB962C8B-B14F-4D97-AF65-F5344CB8AC3E}">
        <p14:creationId xmlns:p14="http://schemas.microsoft.com/office/powerpoint/2010/main" val="2223788368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x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395288" y="1131889"/>
            <a:ext cx="4104712" cy="2323603"/>
          </a:xfrm>
          <a:solidFill>
            <a:schemeClr val="accent3"/>
          </a:solidFill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sk-SK" noProof="0" dirty="0"/>
              <a:t>Kliknite na ikonu, aby ste mohli doplniť obrázok</a:t>
            </a:r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4644000" y="1131889"/>
            <a:ext cx="4104712" cy="2323603"/>
          </a:xfrm>
          <a:solidFill>
            <a:schemeClr val="accent3"/>
          </a:solidFill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sk-SK" noProof="0" dirty="0"/>
              <a:t>Kliknite na ikonu, aby ste mohli doplniť obrázok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sk-SK" noProof="0" dirty="0"/>
              <a:t>Názov snímky</a:t>
            </a:r>
            <a:br>
              <a:rPr lang="sk-SK" noProof="0" dirty="0"/>
            </a:br>
            <a:r>
              <a:rPr lang="sk-SK" noProof="0" dirty="0"/>
              <a:t>- maximálne 2 riadky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395287" y="267494"/>
            <a:ext cx="8353425" cy="180181"/>
          </a:xfrm>
        </p:spPr>
        <p:txBody>
          <a:bodyPr wrap="none" bIns="18000"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1" cap="all" baseline="0">
                <a:solidFill>
                  <a:schemeClr val="accent4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1" cap="all">
                <a:solidFill>
                  <a:schemeClr val="accent4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1" cap="all">
                <a:solidFill>
                  <a:schemeClr val="accent4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1" cap="all">
                <a:solidFill>
                  <a:schemeClr val="accent4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1" cap="all">
                <a:solidFill>
                  <a:schemeClr val="accent4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1" cap="all">
                <a:solidFill>
                  <a:schemeClr val="accent4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1" cap="all">
                <a:solidFill>
                  <a:schemeClr val="accent4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1" cap="all">
                <a:solidFill>
                  <a:schemeClr val="accent4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1" cap="all">
                <a:solidFill>
                  <a:schemeClr val="accent4"/>
                </a:solidFill>
              </a:defRPr>
            </a:lvl9pPr>
          </a:lstStyle>
          <a:p>
            <a:pPr lvl="0"/>
            <a:r>
              <a:rPr lang="sk-SK" noProof="0" dirty="0"/>
              <a:t>NÁZOV KAPITOLY (VOLITEĽNÁ MOŽNOSŤ)</a:t>
            </a: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95287" y="3455492"/>
            <a:ext cx="4104713" cy="1132482"/>
          </a:xfrm>
        </p:spPr>
        <p:txBody>
          <a:bodyPr lIns="0" tIns="144000"/>
          <a:lstStyle/>
          <a:p>
            <a:pPr lvl="0"/>
            <a:r>
              <a:rPr lang="sk-SK" noProof="0" dirty="0"/>
              <a:t>Tu napíšte svoj text.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4643999" y="3455492"/>
            <a:ext cx="4104713" cy="1132482"/>
          </a:xfrm>
        </p:spPr>
        <p:txBody>
          <a:bodyPr lIns="0" tIns="144000"/>
          <a:lstStyle/>
          <a:p>
            <a:pPr lvl="0"/>
            <a:r>
              <a:rPr lang="sk-SK" noProof="0" dirty="0"/>
              <a:t>Tu napíšte svoj text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30"/>
          </p:nvPr>
        </p:nvSpPr>
        <p:spPr/>
        <p:txBody>
          <a:bodyPr/>
          <a:lstStyle/>
          <a:p>
            <a:fld id="{D56C85D1-5F9D-49CC-BB13-9BD04B092B99}" type="datetime1">
              <a:rPr lang="sk-SK" noProof="0" smtClean="0"/>
              <a:t>30. 11. 2020</a:t>
            </a:fld>
            <a:endParaRPr lang="sk-SK" noProof="0" dirty="0"/>
          </a:p>
        </p:txBody>
      </p:sp>
      <p:sp>
        <p:nvSpPr>
          <p:cNvPr id="22" name="Fußzeilenplatzhalter 21"/>
          <p:cNvSpPr>
            <a:spLocks noGrp="1"/>
          </p:cNvSpPr>
          <p:nvPr>
            <p:ph type="ftr" sz="quarter" idx="31"/>
          </p:nvPr>
        </p:nvSpPr>
        <p:spPr/>
        <p:txBody>
          <a:bodyPr/>
          <a:lstStyle/>
          <a:p>
            <a:r>
              <a:rPr lang="sk-SK" noProof="0"/>
              <a:t>Päta</a:t>
            </a:r>
            <a:endParaRPr lang="sk-SK" noProof="0" dirty="0"/>
          </a:p>
        </p:txBody>
      </p:sp>
      <p:sp>
        <p:nvSpPr>
          <p:cNvPr id="23" name="Foliennummernplatzhalter 22"/>
          <p:cNvSpPr>
            <a:spLocks noGrp="1"/>
          </p:cNvSpPr>
          <p:nvPr>
            <p:ph type="sldNum" sz="quarter" idx="32"/>
          </p:nvPr>
        </p:nvSpPr>
        <p:spPr/>
        <p:txBody>
          <a:bodyPr/>
          <a:lstStyle/>
          <a:p>
            <a:r>
              <a:rPr lang="sk-SK" noProof="0" dirty="0">
                <a:sym typeface="Wingdings"/>
              </a:rPr>
              <a:t>  </a:t>
            </a:r>
            <a:fld id="{443B15C8-972D-49F6-9B7C-5A2154A8C95F}" type="slidenum">
              <a:rPr lang="sk-SK" noProof="0" smtClean="0"/>
              <a:pPr/>
              <a:t>‹#›</a:t>
            </a:fld>
            <a:endParaRPr lang="sk-SK" noProof="0" dirty="0"/>
          </a:p>
        </p:txBody>
      </p:sp>
      <p:sp>
        <p:nvSpPr>
          <p:cNvPr id="16" name="Textplatzhalter 4"/>
          <p:cNvSpPr>
            <a:spLocks noGrp="1"/>
          </p:cNvSpPr>
          <p:nvPr>
            <p:ph type="body" sz="quarter" idx="33" hasCustomPrompt="1"/>
          </p:nvPr>
        </p:nvSpPr>
        <p:spPr>
          <a:xfrm>
            <a:off x="395287" y="4836160"/>
            <a:ext cx="4176713" cy="136050"/>
          </a:xfrm>
        </p:spPr>
        <p:txBody>
          <a:bodyPr rIns="72000" anchor="b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00" b="0" cap="none" baseline="0">
                <a:solidFill>
                  <a:schemeClr val="tx2"/>
                </a:solidFill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00" b="0" cap="none" baseline="0">
                <a:solidFill>
                  <a:schemeClr val="tx2"/>
                </a:solidFill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600" b="0" cap="none" baseline="0">
                <a:solidFill>
                  <a:schemeClr val="tx2"/>
                </a:solidFill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600" b="0" cap="none" baseline="0">
                <a:solidFill>
                  <a:schemeClr val="tx2"/>
                </a:solidFill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00" b="0" cap="none" baseline="0">
                <a:solidFill>
                  <a:schemeClr val="tx2"/>
                </a:solidFill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00" b="0" cap="none" baseline="0">
                <a:solidFill>
                  <a:schemeClr val="tx2"/>
                </a:solidFill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00" b="0" cap="none" baseline="0">
                <a:solidFill>
                  <a:schemeClr val="tx2"/>
                </a:solidFill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00" b="0" cap="none" baseline="0">
                <a:solidFill>
                  <a:schemeClr val="tx2"/>
                </a:solidFill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00" b="0" cap="none" baseline="0">
                <a:solidFill>
                  <a:schemeClr val="tx2"/>
                </a:solidFill>
              </a:defRPr>
            </a:lvl9pPr>
          </a:lstStyle>
          <a:p>
            <a:pPr lvl="0"/>
            <a:r>
              <a:rPr lang="sk-SK" noProof="0" dirty="0"/>
              <a:t>zdroj</a:t>
            </a:r>
          </a:p>
        </p:txBody>
      </p:sp>
    </p:spTree>
    <p:extLst>
      <p:ext uri="{BB962C8B-B14F-4D97-AF65-F5344CB8AC3E}">
        <p14:creationId xmlns:p14="http://schemas.microsoft.com/office/powerpoint/2010/main" val="3747522059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fullsiz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5569217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99" name="think-cell Folie" r:id="rId4" imgW="245" imgH="245" progId="TCLayout.ActiveDocument.1">
                  <p:embed/>
                </p:oleObj>
              </mc:Choice>
              <mc:Fallback>
                <p:oleObj name="think-cell Folie" r:id="rId4" imgW="245" imgH="2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Picture Placeholder 3"/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0" y="0"/>
            <a:ext cx="9144000" cy="4675499"/>
          </a:xfrm>
          <a:prstGeom prst="rect">
            <a:avLst/>
          </a:prstGeom>
          <a:solidFill>
            <a:schemeClr val="accent3"/>
          </a:solidFill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sk-SK" noProof="0" dirty="0"/>
              <a:t>Kliknite na ikonu, aby ste mohli doplniť obrázok</a:t>
            </a:r>
          </a:p>
        </p:txBody>
      </p:sp>
      <p:sp>
        <p:nvSpPr>
          <p:cNvPr id="4" name="Titel 3"/>
          <p:cNvSpPr>
            <a:spLocks noGrp="1"/>
          </p:cNvSpPr>
          <p:nvPr>
            <p:ph type="title" hasCustomPrompt="1"/>
          </p:nvPr>
        </p:nvSpPr>
        <p:spPr>
          <a:xfrm>
            <a:off x="0" y="4675500"/>
            <a:ext cx="9144000" cy="468000"/>
          </a:xfrm>
          <a:solidFill>
            <a:schemeClr val="tx1"/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sk-SK" noProof="0" dirty="0"/>
              <a:t>Názov snímky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9"/>
          </p:nvPr>
        </p:nvSpPr>
        <p:spPr>
          <a:xfrm>
            <a:off x="7776356" y="5200042"/>
            <a:ext cx="720079" cy="136050"/>
          </a:xfrm>
        </p:spPr>
        <p:txBody>
          <a:bodyPr/>
          <a:lstStyle/>
          <a:p>
            <a:fld id="{9B98FD65-07B6-4F38-A0C2-E1756D3C2F2B}" type="datetime1">
              <a:rPr lang="sk-SK" noProof="0" smtClean="0"/>
              <a:t>30. 11. 2020</a:t>
            </a:fld>
            <a:endParaRPr lang="sk-SK" noProof="0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20"/>
          </p:nvPr>
        </p:nvSpPr>
        <p:spPr>
          <a:xfrm>
            <a:off x="5543550" y="5200042"/>
            <a:ext cx="2232806" cy="136050"/>
          </a:xfrm>
        </p:spPr>
        <p:txBody>
          <a:bodyPr/>
          <a:lstStyle/>
          <a:p>
            <a:r>
              <a:rPr lang="sk-SK" noProof="0"/>
              <a:t>Päta</a:t>
            </a:r>
            <a:endParaRPr lang="sk-SK" noProof="0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1"/>
          </p:nvPr>
        </p:nvSpPr>
        <p:spPr>
          <a:xfrm>
            <a:off x="8496436" y="5200042"/>
            <a:ext cx="647565" cy="136050"/>
          </a:xfrm>
        </p:spPr>
        <p:txBody>
          <a:bodyPr/>
          <a:lstStyle/>
          <a:p>
            <a:r>
              <a:rPr lang="sk-SK" noProof="0" dirty="0">
                <a:sym typeface="Wingdings"/>
              </a:rPr>
              <a:t>  </a:t>
            </a:r>
            <a:fld id="{443B15C8-972D-49F6-9B7C-5A2154A8C95F}" type="slidenum">
              <a:rPr lang="sk-SK" noProof="0" smtClean="0"/>
              <a:pPr/>
              <a:t>‹#›</a:t>
            </a:fld>
            <a:endParaRPr lang="sk-SK" noProof="0" dirty="0"/>
          </a:p>
        </p:txBody>
      </p:sp>
    </p:spTree>
    <p:extLst>
      <p:ext uri="{BB962C8B-B14F-4D97-AF65-F5344CB8AC3E}">
        <p14:creationId xmlns:p14="http://schemas.microsoft.com/office/powerpoint/2010/main" val="1027502174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n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sk-SK" noProof="0" dirty="0"/>
              <a:t>Názov snímky</a:t>
            </a:r>
            <a:br>
              <a:rPr lang="sk-SK" noProof="0" dirty="0"/>
            </a:br>
            <a:r>
              <a:rPr lang="sk-SK" noProof="0" dirty="0"/>
              <a:t>- maximálne 2 riadky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395287" y="267494"/>
            <a:ext cx="8353425" cy="180181"/>
          </a:xfrm>
        </p:spPr>
        <p:txBody>
          <a:bodyPr wrap="none" bIns="18000"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1" cap="all" baseline="0">
                <a:solidFill>
                  <a:schemeClr val="accent4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1" cap="all">
                <a:solidFill>
                  <a:schemeClr val="accent4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1" cap="all">
                <a:solidFill>
                  <a:schemeClr val="accent4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1" cap="all">
                <a:solidFill>
                  <a:schemeClr val="accent4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1" cap="all">
                <a:solidFill>
                  <a:schemeClr val="accent4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1" cap="all">
                <a:solidFill>
                  <a:schemeClr val="accent4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1" cap="all">
                <a:solidFill>
                  <a:schemeClr val="accent4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1" cap="all">
                <a:solidFill>
                  <a:schemeClr val="accent4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1" cap="all">
                <a:solidFill>
                  <a:schemeClr val="accent4"/>
                </a:solidFill>
              </a:defRPr>
            </a:lvl9pPr>
          </a:lstStyle>
          <a:p>
            <a:pPr lvl="0"/>
            <a:r>
              <a:rPr lang="sk-SK" noProof="0" dirty="0"/>
              <a:t>NÁZOV KAPITOLY (VOLITEĽNÁ MOŽNOSŤ)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fld id="{1DBE9097-8BAE-461C-9C69-45F8ED449D8E}" type="datetime1">
              <a:rPr lang="sk-SK" noProof="0" smtClean="0"/>
              <a:t>30. 11. 2020</a:t>
            </a:fld>
            <a:endParaRPr lang="sk-SK" noProof="0" dirty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r>
              <a:rPr lang="sk-SK" noProof="0"/>
              <a:t>Päta</a:t>
            </a:r>
            <a:endParaRPr lang="sk-SK" noProof="0" dirty="0"/>
          </a:p>
        </p:txBody>
      </p:sp>
      <p:sp>
        <p:nvSpPr>
          <p:cNvPr id="17" name="Foliennummernplatzhalter 16"/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r>
              <a:rPr lang="sk-SK" noProof="0" dirty="0">
                <a:sym typeface="Wingdings"/>
              </a:rPr>
              <a:t>  </a:t>
            </a:r>
            <a:fld id="{443B15C8-972D-49F6-9B7C-5A2154A8C95F}" type="slidenum">
              <a:rPr lang="sk-SK" noProof="0" smtClean="0"/>
              <a:pPr/>
              <a:t>‹#›</a:t>
            </a:fld>
            <a:endParaRPr lang="sk-SK" noProof="0" dirty="0"/>
          </a:p>
        </p:txBody>
      </p:sp>
      <p:sp>
        <p:nvSpPr>
          <p:cNvPr id="10" name="Textplatzhalter 4"/>
          <p:cNvSpPr>
            <a:spLocks noGrp="1"/>
          </p:cNvSpPr>
          <p:nvPr>
            <p:ph type="body" sz="quarter" idx="28" hasCustomPrompt="1"/>
          </p:nvPr>
        </p:nvSpPr>
        <p:spPr>
          <a:xfrm>
            <a:off x="395287" y="4836160"/>
            <a:ext cx="4176713" cy="136050"/>
          </a:xfrm>
        </p:spPr>
        <p:txBody>
          <a:bodyPr rIns="72000" anchor="b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00" b="0" cap="none" baseline="0">
                <a:solidFill>
                  <a:schemeClr val="tx2"/>
                </a:solidFill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00" b="0" cap="none" baseline="0">
                <a:solidFill>
                  <a:schemeClr val="tx2"/>
                </a:solidFill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600" b="0" cap="none" baseline="0">
                <a:solidFill>
                  <a:schemeClr val="tx2"/>
                </a:solidFill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600" b="0" cap="none" baseline="0">
                <a:solidFill>
                  <a:schemeClr val="tx2"/>
                </a:solidFill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00" b="0" cap="none" baseline="0">
                <a:solidFill>
                  <a:schemeClr val="tx2"/>
                </a:solidFill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00" b="0" cap="none" baseline="0">
                <a:solidFill>
                  <a:schemeClr val="tx2"/>
                </a:solidFill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00" b="0" cap="none" baseline="0">
                <a:solidFill>
                  <a:schemeClr val="tx2"/>
                </a:solidFill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00" b="0" cap="none" baseline="0">
                <a:solidFill>
                  <a:schemeClr val="tx2"/>
                </a:solidFill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00" b="0" cap="none" baseline="0">
                <a:solidFill>
                  <a:schemeClr val="tx2"/>
                </a:solidFill>
              </a:defRPr>
            </a:lvl9pPr>
          </a:lstStyle>
          <a:p>
            <a:pPr lvl="0"/>
            <a:r>
              <a:rPr lang="sk-SK" noProof="0" dirty="0"/>
              <a:t>zdroj</a:t>
            </a:r>
          </a:p>
        </p:txBody>
      </p:sp>
    </p:spTree>
    <p:extLst>
      <p:ext uri="{BB962C8B-B14F-4D97-AF65-F5344CB8AC3E}">
        <p14:creationId xmlns:p14="http://schemas.microsoft.com/office/powerpoint/2010/main" val="3423463631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216842141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84" name="think-cell Folie" r:id="rId14" imgW="245" imgH="245" progId="TCLayout.ActiveDocument.1">
                  <p:embed/>
                </p:oleObj>
              </mc:Choice>
              <mc:Fallback>
                <p:oleObj name="think-cell Folie" r:id="rId14" imgW="245" imgH="2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 userDrawn="1">
            <p:ph type="title"/>
          </p:nvPr>
        </p:nvSpPr>
        <p:spPr bwMode="gray">
          <a:xfrm>
            <a:off x="395288" y="447675"/>
            <a:ext cx="8350079" cy="59442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sk-SK" noProof="0" dirty="0"/>
              <a:t>Názov snímky</a:t>
            </a:r>
            <a:br>
              <a:rPr lang="sk-SK" noProof="0" dirty="0"/>
            </a:br>
            <a:r>
              <a:rPr lang="sk-SK" noProof="0" dirty="0"/>
              <a:t>- maximálne 2 riadky</a:t>
            </a: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395287" y="1131887"/>
            <a:ext cx="8350080" cy="3268005"/>
          </a:xfrm>
          <a:prstGeom prst="rect">
            <a:avLst/>
          </a:prstGeom>
        </p:spPr>
        <p:txBody>
          <a:bodyPr vert="horz" lIns="0" tIns="0" rIns="72000" bIns="0" rtlCol="0">
            <a:noAutofit/>
          </a:bodyPr>
          <a:lstStyle/>
          <a:p>
            <a:pPr lvl="0"/>
            <a:r>
              <a:rPr lang="sk-SK" noProof="0" dirty="0"/>
              <a:t>Tu napíšte svoj text.</a:t>
            </a:r>
          </a:p>
          <a:p>
            <a:pPr lvl="1"/>
            <a:r>
              <a:rPr lang="sk-SK" noProof="0" dirty="0"/>
              <a:t>Druhá úroveň</a:t>
            </a:r>
          </a:p>
          <a:p>
            <a:pPr lvl="2"/>
            <a:r>
              <a:rPr lang="sk-SK" noProof="0" dirty="0"/>
              <a:t>Tretia úroveň</a:t>
            </a:r>
          </a:p>
          <a:p>
            <a:pPr lvl="3"/>
            <a:r>
              <a:rPr lang="sk-SK" noProof="0" dirty="0"/>
              <a:t>Štvrtá úroveň</a:t>
            </a:r>
          </a:p>
          <a:p>
            <a:pPr lvl="4"/>
            <a:r>
              <a:rPr lang="sk-SK" noProof="0" dirty="0"/>
              <a:t>Piata úroveň </a:t>
            </a:r>
          </a:p>
        </p:txBody>
      </p:sp>
      <p:sp>
        <p:nvSpPr>
          <p:cNvPr id="93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8100391" y="4836160"/>
            <a:ext cx="468051" cy="136050"/>
          </a:xfrm>
          <a:prstGeom prst="rect">
            <a:avLst/>
          </a:prstGeom>
        </p:spPr>
        <p:txBody>
          <a:bodyPr vert="horz" wrap="none" lIns="0" tIns="0" rIns="0" bIns="0" rtlCol="0" anchor="b"/>
          <a:lstStyle>
            <a:lvl1pPr algn="ctr">
              <a:defRPr sz="600">
                <a:solidFill>
                  <a:schemeClr val="accent1"/>
                </a:solidFill>
              </a:defRPr>
            </a:lvl1pPr>
          </a:lstStyle>
          <a:p>
            <a:fld id="{8ECDFDC7-37C3-4546-96CD-52C882A686A0}" type="datetime1">
              <a:rPr lang="sk-SK" smtClean="0"/>
              <a:t>30. 11. 2020</a:t>
            </a:fld>
            <a:endParaRPr lang="sk-SK" dirty="0"/>
          </a:p>
        </p:txBody>
      </p:sp>
      <p:sp>
        <p:nvSpPr>
          <p:cNvPr id="94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5788992" y="4836160"/>
            <a:ext cx="2311398" cy="136050"/>
          </a:xfrm>
          <a:prstGeom prst="rect">
            <a:avLst/>
          </a:prstGeom>
        </p:spPr>
        <p:txBody>
          <a:bodyPr vert="horz" wrap="none" lIns="0" tIns="0" rIns="0" bIns="0" rtlCol="0" anchor="b"/>
          <a:lstStyle>
            <a:lvl1pPr algn="r">
              <a:defRPr sz="600">
                <a:solidFill>
                  <a:schemeClr val="accent1"/>
                </a:solidFill>
              </a:defRPr>
            </a:lvl1pPr>
          </a:lstStyle>
          <a:p>
            <a:r>
              <a:rPr lang="sk-SK" noProof="0"/>
              <a:t>Päta</a:t>
            </a:r>
            <a:endParaRPr lang="sk-SK" noProof="0" dirty="0"/>
          </a:p>
        </p:txBody>
      </p:sp>
      <p:sp>
        <p:nvSpPr>
          <p:cNvPr id="95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8568443" y="4836160"/>
            <a:ext cx="575558" cy="136050"/>
          </a:xfrm>
          <a:prstGeom prst="rect">
            <a:avLst/>
          </a:prstGeom>
        </p:spPr>
        <p:txBody>
          <a:bodyPr vert="horz" wrap="none" lIns="0" tIns="0" rIns="0" bIns="0" rtlCol="0" anchor="b"/>
          <a:lstStyle>
            <a:lvl1pPr algn="l">
              <a:defRPr sz="600" b="0">
                <a:solidFill>
                  <a:schemeClr val="accent1"/>
                </a:solidFill>
              </a:defRPr>
            </a:lvl1pPr>
          </a:lstStyle>
          <a:p>
            <a:r>
              <a:rPr lang="sk-SK" noProof="0" dirty="0">
                <a:sym typeface="Wingdings"/>
              </a:rPr>
              <a:t>  </a:t>
            </a:r>
            <a:fld id="{443B15C8-972D-49F6-9B7C-5A2154A8C95F}" type="slidenum">
              <a:rPr lang="sk-SK" noProof="0" smtClean="0"/>
              <a:pPr/>
              <a:t>‹#›</a:t>
            </a:fld>
            <a:endParaRPr lang="sk-SK" noProof="0" dirty="0"/>
          </a:p>
        </p:txBody>
      </p:sp>
      <p:grpSp>
        <p:nvGrpSpPr>
          <p:cNvPr id="27" name="Gruppieren 26"/>
          <p:cNvGrpSpPr/>
          <p:nvPr userDrawn="1"/>
        </p:nvGrpSpPr>
        <p:grpSpPr>
          <a:xfrm>
            <a:off x="-373329" y="-380578"/>
            <a:ext cx="9664396" cy="5679553"/>
            <a:chOff x="-373329" y="-380578"/>
            <a:chExt cx="9664396" cy="5679553"/>
          </a:xfrm>
        </p:grpSpPr>
        <p:sp>
          <p:nvSpPr>
            <p:cNvPr id="28" name="Textfeld 125"/>
            <p:cNvSpPr txBox="1"/>
            <p:nvPr userDrawn="1"/>
          </p:nvSpPr>
          <p:spPr bwMode="gray">
            <a:xfrm>
              <a:off x="169614" y="-137946"/>
              <a:ext cx="207368" cy="69156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r">
                <a:lnSpc>
                  <a:spcPct val="11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accent1"/>
                </a:buClr>
                <a:buFont typeface="Wingdings" panose="05000000000000000000" pitchFamily="2" charset="2"/>
                <a:buNone/>
              </a:pPr>
              <a:r>
                <a:rPr lang="pl-PL" sz="600" noProof="0" dirty="0">
                  <a:solidFill>
                    <a:schemeClr val="tx2"/>
                  </a:solidFill>
                </a:rPr>
                <a:t>11,60</a:t>
              </a:r>
            </a:p>
          </p:txBody>
        </p:sp>
        <p:cxnSp>
          <p:nvCxnSpPr>
            <p:cNvPr id="29" name="Gerade Verbindung 88"/>
            <p:cNvCxnSpPr/>
            <p:nvPr userDrawn="1"/>
          </p:nvCxnSpPr>
          <p:spPr bwMode="gray">
            <a:xfrm>
              <a:off x="395287" y="-380578"/>
              <a:ext cx="1" cy="310681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0" name="Textfeld 125"/>
            <p:cNvSpPr txBox="1"/>
            <p:nvPr userDrawn="1"/>
          </p:nvSpPr>
          <p:spPr bwMode="gray">
            <a:xfrm>
              <a:off x="4468316" y="-247911"/>
              <a:ext cx="207368" cy="69156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lnSpc>
                  <a:spcPct val="11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accent1"/>
                </a:buClr>
                <a:buFont typeface="Wingdings" panose="05000000000000000000" pitchFamily="2" charset="2"/>
                <a:buNone/>
              </a:pPr>
              <a:r>
                <a:rPr lang="pl-PL" sz="600" noProof="0" dirty="0">
                  <a:solidFill>
                    <a:schemeClr val="tx2"/>
                  </a:solidFill>
                </a:rPr>
                <a:t>0</a:t>
              </a:r>
            </a:p>
          </p:txBody>
        </p:sp>
        <p:cxnSp>
          <p:nvCxnSpPr>
            <p:cNvPr id="31" name="Gerade Verbindung 90"/>
            <p:cNvCxnSpPr/>
            <p:nvPr userDrawn="1"/>
          </p:nvCxnSpPr>
          <p:spPr bwMode="gray">
            <a:xfrm>
              <a:off x="4572000" y="-164554"/>
              <a:ext cx="0" cy="94657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2" name="Textfeld 125"/>
            <p:cNvSpPr txBox="1"/>
            <p:nvPr userDrawn="1"/>
          </p:nvSpPr>
          <p:spPr bwMode="gray">
            <a:xfrm>
              <a:off x="8765420" y="-137946"/>
              <a:ext cx="207368" cy="69156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l">
                <a:lnSpc>
                  <a:spcPct val="11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accent1"/>
                </a:buClr>
                <a:buFont typeface="Wingdings" panose="05000000000000000000" pitchFamily="2" charset="2"/>
                <a:buNone/>
              </a:pPr>
              <a:r>
                <a:rPr lang="pl-PL" sz="600" noProof="0" dirty="0">
                  <a:solidFill>
                    <a:schemeClr val="tx2"/>
                  </a:solidFill>
                </a:rPr>
                <a:t>11,60</a:t>
              </a:r>
            </a:p>
          </p:txBody>
        </p:sp>
        <p:cxnSp>
          <p:nvCxnSpPr>
            <p:cNvPr id="33" name="Gerade Verbindung 95"/>
            <p:cNvCxnSpPr/>
            <p:nvPr userDrawn="1"/>
          </p:nvCxnSpPr>
          <p:spPr bwMode="gray">
            <a:xfrm>
              <a:off x="8745367" y="-380578"/>
              <a:ext cx="1" cy="310681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96"/>
            <p:cNvCxnSpPr/>
            <p:nvPr userDrawn="1"/>
          </p:nvCxnSpPr>
          <p:spPr bwMode="gray">
            <a:xfrm>
              <a:off x="395287" y="5205375"/>
              <a:ext cx="1" cy="936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97"/>
            <p:cNvCxnSpPr/>
            <p:nvPr userDrawn="1"/>
          </p:nvCxnSpPr>
          <p:spPr bwMode="gray">
            <a:xfrm>
              <a:off x="4572000" y="5205375"/>
              <a:ext cx="0" cy="936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100"/>
            <p:cNvCxnSpPr/>
            <p:nvPr userDrawn="1"/>
          </p:nvCxnSpPr>
          <p:spPr bwMode="gray">
            <a:xfrm>
              <a:off x="8745367" y="5205375"/>
              <a:ext cx="1" cy="936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7" name="Textfeld 125"/>
            <p:cNvSpPr txBox="1"/>
            <p:nvPr userDrawn="1"/>
          </p:nvSpPr>
          <p:spPr bwMode="gray">
            <a:xfrm>
              <a:off x="-270016" y="4604219"/>
              <a:ext cx="207368" cy="69156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r">
                <a:lnSpc>
                  <a:spcPct val="11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accent1"/>
                </a:buClr>
                <a:buFont typeface="Wingdings" panose="05000000000000000000" pitchFamily="2" charset="2"/>
                <a:buNone/>
              </a:pPr>
              <a:r>
                <a:rPr lang="pl-PL" sz="600" noProof="0" dirty="0">
                  <a:solidFill>
                    <a:schemeClr val="tx2"/>
                  </a:solidFill>
                </a:rPr>
                <a:t>5,</a:t>
              </a:r>
              <a:r>
                <a:rPr lang="de-DE" sz="600" noProof="0" dirty="0">
                  <a:solidFill>
                    <a:schemeClr val="tx2"/>
                  </a:solidFill>
                </a:rPr>
                <a:t>6</a:t>
              </a:r>
              <a:r>
                <a:rPr lang="pl-PL" sz="600" noProof="0" dirty="0">
                  <a:solidFill>
                    <a:schemeClr val="tx2"/>
                  </a:solidFill>
                </a:rPr>
                <a:t>0</a:t>
              </a:r>
            </a:p>
          </p:txBody>
        </p:sp>
        <p:cxnSp>
          <p:nvCxnSpPr>
            <p:cNvPr id="38" name="Gerade Verbindung 103"/>
            <p:cNvCxnSpPr/>
            <p:nvPr userDrawn="1"/>
          </p:nvCxnSpPr>
          <p:spPr bwMode="gray">
            <a:xfrm rot="5400000">
              <a:off x="-217989" y="4425629"/>
              <a:ext cx="1" cy="310681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9" name="Textfeld 125"/>
            <p:cNvSpPr txBox="1"/>
            <p:nvPr userDrawn="1"/>
          </p:nvSpPr>
          <p:spPr bwMode="gray">
            <a:xfrm>
              <a:off x="-270016" y="1042102"/>
              <a:ext cx="207368" cy="69156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r">
                <a:lnSpc>
                  <a:spcPct val="11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accent1"/>
                </a:buClr>
                <a:buFont typeface="Wingdings" panose="05000000000000000000" pitchFamily="2" charset="2"/>
                <a:buNone/>
              </a:pPr>
              <a:r>
                <a:rPr lang="pl-PL" sz="600" noProof="0" dirty="0">
                  <a:solidFill>
                    <a:schemeClr val="tx2"/>
                  </a:solidFill>
                </a:rPr>
                <a:t>4,00</a:t>
              </a:r>
            </a:p>
          </p:txBody>
        </p:sp>
        <p:cxnSp>
          <p:nvCxnSpPr>
            <p:cNvPr id="40" name="Gerade Verbindung 105"/>
            <p:cNvCxnSpPr/>
            <p:nvPr userDrawn="1"/>
          </p:nvCxnSpPr>
          <p:spPr bwMode="gray">
            <a:xfrm rot="5400000">
              <a:off x="-217989" y="970017"/>
              <a:ext cx="1" cy="310681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1" name="Textfeld 125"/>
            <p:cNvSpPr txBox="1"/>
            <p:nvPr userDrawn="1"/>
          </p:nvSpPr>
          <p:spPr bwMode="gray">
            <a:xfrm>
              <a:off x="-325696" y="2825353"/>
              <a:ext cx="207368" cy="69156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lnSpc>
                  <a:spcPct val="11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accent1"/>
                </a:buClr>
                <a:buFont typeface="Wingdings" panose="05000000000000000000" pitchFamily="2" charset="2"/>
                <a:buNone/>
              </a:pPr>
              <a:r>
                <a:rPr lang="pl-PL" sz="600" noProof="0" dirty="0">
                  <a:solidFill>
                    <a:schemeClr val="tx2"/>
                  </a:solidFill>
                </a:rPr>
                <a:t>0</a:t>
              </a:r>
              <a:r>
                <a:rPr lang="de-DE" sz="600" noProof="0" dirty="0">
                  <a:solidFill>
                    <a:schemeClr val="tx2"/>
                  </a:solidFill>
                </a:rPr>
                <a:t>,8</a:t>
              </a:r>
              <a:endParaRPr lang="pl-PL" sz="600" noProof="0" dirty="0">
                <a:solidFill>
                  <a:schemeClr val="tx2"/>
                </a:solidFill>
              </a:endParaRPr>
            </a:p>
          </p:txBody>
        </p:sp>
        <p:cxnSp>
          <p:nvCxnSpPr>
            <p:cNvPr id="42" name="Gerade Verbindung 107"/>
            <p:cNvCxnSpPr/>
            <p:nvPr userDrawn="1"/>
          </p:nvCxnSpPr>
          <p:spPr bwMode="gray">
            <a:xfrm rot="16200000">
              <a:off x="-109977" y="2815134"/>
              <a:ext cx="0" cy="94657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 Verbindung 108"/>
            <p:cNvCxnSpPr/>
            <p:nvPr userDrawn="1"/>
          </p:nvCxnSpPr>
          <p:spPr bwMode="gray">
            <a:xfrm rot="5400000">
              <a:off x="9244266" y="4534169"/>
              <a:ext cx="1" cy="936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Gerade Verbindung 109"/>
            <p:cNvCxnSpPr/>
            <p:nvPr userDrawn="1"/>
          </p:nvCxnSpPr>
          <p:spPr bwMode="gray">
            <a:xfrm rot="5400000">
              <a:off x="9244266" y="1078557"/>
              <a:ext cx="1" cy="936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Gerade Verbindung 110"/>
            <p:cNvCxnSpPr/>
            <p:nvPr userDrawn="1"/>
          </p:nvCxnSpPr>
          <p:spPr bwMode="gray">
            <a:xfrm rot="16200000">
              <a:off x="9244266" y="2815662"/>
              <a:ext cx="0" cy="93600"/>
            </a:xfrm>
            <a:prstGeom prst="line">
              <a:avLst/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0814873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68" r:id="rId2"/>
    <p:sldLayoutId id="2147483650" r:id="rId3"/>
    <p:sldLayoutId id="2147483651" r:id="rId4"/>
    <p:sldLayoutId id="2147483652" r:id="rId5"/>
    <p:sldLayoutId id="2147483655" r:id="rId6"/>
    <p:sldLayoutId id="2147483654" r:id="rId7"/>
    <p:sldLayoutId id="2147483659" r:id="rId8"/>
    <p:sldLayoutId id="2147483660" r:id="rId9"/>
    <p:sldLayoutId id="2147483664" r:id="rId10"/>
  </p:sldLayoutIdLst>
  <p:transition>
    <p:fade/>
  </p:transition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1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Kaufland Office" panose="020B0503040000020003" pitchFamily="34" charset="0"/>
        <a:buChar char="−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SzPct val="90000"/>
        <a:buFont typeface="Kaufland Office" panose="020B0503040000020003" pitchFamily="34" charset="0"/>
        <a:buChar char="−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80000" indent="-18000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SzPct val="90000"/>
        <a:buFont typeface="+mj-lt"/>
        <a:buAutoNum type="arabicPeriod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360000" indent="-180975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SzPct val="100000"/>
        <a:buFont typeface="+mj-lt"/>
        <a:buAutoNum type="alphaLcPeriod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tx2"/>
        </a:buClr>
        <a:buFont typeface="+mj-lt"/>
        <a:buNone/>
        <a:defRPr sz="1400" b="1" kern="1200" cap="all" baseline="0">
          <a:solidFill>
            <a:schemeClr val="accent4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400" b="1" kern="1200" cap="all" baseline="0">
          <a:solidFill>
            <a:schemeClr val="accent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400" b="1" kern="1200" cap="all" baseline="0">
          <a:solidFill>
            <a:schemeClr val="bg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2.emf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6.bin"/><Relationship Id="rId5" Type="http://schemas.openxmlformats.org/officeDocument/2006/relationships/image" Target="../media/image3.jpg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slideLayout" Target="../slideLayouts/slideLayout3.xml"/><Relationship Id="rId1" Type="http://schemas.openxmlformats.org/officeDocument/2006/relationships/vmlDrawing" Target="../drawings/vmlDrawing10.vml"/><Relationship Id="rId6" Type="http://schemas.openxmlformats.org/officeDocument/2006/relationships/chart" Target="../charts/chart6.xml"/><Relationship Id="rId5" Type="http://schemas.openxmlformats.org/officeDocument/2006/relationships/image" Target="../media/image14.emf"/><Relationship Id="rId4" Type="http://schemas.openxmlformats.org/officeDocument/2006/relationships/package" Target="../embeddings/Microsoft_Excel_Worksheet8.xlsx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slideLayout" Target="../slideLayouts/slideLayout3.xml"/><Relationship Id="rId1" Type="http://schemas.openxmlformats.org/officeDocument/2006/relationships/vmlDrawing" Target="../drawings/vmlDrawing11.vml"/><Relationship Id="rId6" Type="http://schemas.openxmlformats.org/officeDocument/2006/relationships/chart" Target="../charts/chart7.xml"/><Relationship Id="rId5" Type="http://schemas.openxmlformats.org/officeDocument/2006/relationships/image" Target="../media/image16.emf"/><Relationship Id="rId4" Type="http://schemas.openxmlformats.org/officeDocument/2006/relationships/package" Target="../embeddings/Microsoft_Excel_Worksheet10.xlsx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slideLayout" Target="../slideLayouts/slideLayout3.xml"/><Relationship Id="rId1" Type="http://schemas.openxmlformats.org/officeDocument/2006/relationships/vmlDrawing" Target="../drawings/vmlDrawing12.vml"/><Relationship Id="rId6" Type="http://schemas.openxmlformats.org/officeDocument/2006/relationships/chart" Target="../charts/chart8.xml"/><Relationship Id="rId5" Type="http://schemas.openxmlformats.org/officeDocument/2006/relationships/image" Target="../media/image18.emf"/><Relationship Id="rId4" Type="http://schemas.openxmlformats.org/officeDocument/2006/relationships/package" Target="../embeddings/Microsoft_Excel_Worksheet12.xlsx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22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26.png"/><Relationship Id="rId4" Type="http://schemas.openxmlformats.org/officeDocument/2006/relationships/image" Target="../media/image25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jpg"/><Relationship Id="rId3" Type="http://schemas.openxmlformats.org/officeDocument/2006/relationships/image" Target="../media/image28.jpg"/><Relationship Id="rId7" Type="http://schemas.openxmlformats.org/officeDocument/2006/relationships/image" Target="../media/image32.jp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31.jpg"/><Relationship Id="rId5" Type="http://schemas.openxmlformats.org/officeDocument/2006/relationships/image" Target="../media/image30.jpg"/><Relationship Id="rId10" Type="http://schemas.openxmlformats.org/officeDocument/2006/relationships/image" Target="../media/image35.jpg"/><Relationship Id="rId4" Type="http://schemas.openxmlformats.org/officeDocument/2006/relationships/image" Target="../media/image29.png"/><Relationship Id="rId9" Type="http://schemas.openxmlformats.org/officeDocument/2006/relationships/image" Target="../media/image34.jpg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emf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39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3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6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openxmlformats.org/officeDocument/2006/relationships/slideLayout" Target="../slideLayouts/slideLayout3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9.png"/><Relationship Id="rId5" Type="http://schemas.openxmlformats.org/officeDocument/2006/relationships/chart" Target="../charts/chart3.xml"/><Relationship Id="rId4" Type="http://schemas.openxmlformats.org/officeDocument/2006/relationships/image" Target="../media/image8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slideLayout" Target="../slideLayouts/slideLayout3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1.png"/><Relationship Id="rId5" Type="http://schemas.openxmlformats.org/officeDocument/2006/relationships/image" Target="../media/image10.emf"/><Relationship Id="rId4" Type="http://schemas.openxmlformats.org/officeDocument/2006/relationships/package" Target="../embeddings/Microsoft_Excel_Worksheet5.xlsx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openxmlformats.org/officeDocument/2006/relationships/slideLayout" Target="../slideLayouts/slideLayout3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3.png"/><Relationship Id="rId5" Type="http://schemas.openxmlformats.org/officeDocument/2006/relationships/chart" Target="../charts/chart5.xml"/><Relationship Id="rId4" Type="http://schemas.openxmlformats.org/officeDocument/2006/relationships/image" Target="../media/image1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lipArt-Platzhalter 10"/>
          <p:cNvSpPr>
            <a:spLocks noGrp="1"/>
          </p:cNvSpPr>
          <p:nvPr>
            <p:ph type="clipArt" sz="quarter" idx="13"/>
          </p:nvPr>
        </p:nvSpPr>
        <p:spPr/>
      </p:sp>
      <p:pic>
        <p:nvPicPr>
          <p:cNvPr id="4" name="Zástupný objekt pre obrázok 3" descr="Obrázok, na ktorom je jedlo, zelenina, ovocie, stôl&#10;&#10;Automaticky generovaný popis">
            <a:extLst>
              <a:ext uri="{FF2B5EF4-FFF2-40B4-BE49-F238E27FC236}">
                <a16:creationId xmlns:a16="http://schemas.microsoft.com/office/drawing/2014/main" id="{8E691948-77A5-4CE1-A09B-612CFC81A792}"/>
              </a:ext>
            </a:extLst>
          </p:cNvPr>
          <p:cNvPicPr>
            <a:picLocks noGrp="1" noChangeAspect="1"/>
          </p:cNvPicPr>
          <p:nvPr>
            <p:ph type="pic" sz="quarter" idx="18"/>
          </p:nvPr>
        </p:nvPicPr>
        <p:blipFill>
          <a:blip r:embed="rId5"/>
          <a:srcRect t="8974" b="8974"/>
          <a:stretch>
            <a:fillRect/>
          </a:stretch>
        </p:blipFill>
        <p:spPr/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sk-SK" sz="2200" dirty="0"/>
              <a:t>Potenciál a možnosti odbytu slovenskej produkcie v oblasti OZ</a:t>
            </a:r>
          </a:p>
        </p:txBody>
      </p:sp>
      <p:sp>
        <p:nvSpPr>
          <p:cNvPr id="13" name="Untertitel 1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sk-SK" dirty="0"/>
              <a:t>Ľuba </a:t>
            </a:r>
            <a:r>
              <a:rPr lang="sk-SK" dirty="0" err="1"/>
              <a:t>BarošovÁ</a:t>
            </a:r>
            <a:r>
              <a:rPr lang="sk-SK" dirty="0"/>
              <a:t>, Marek Goldschmied</a:t>
            </a:r>
            <a:br>
              <a:rPr lang="sk-SK" dirty="0"/>
            </a:br>
            <a:r>
              <a:rPr lang="sk-SK" dirty="0"/>
              <a:t>KAUFLAND SR, 30.11.2020</a:t>
            </a:r>
          </a:p>
        </p:txBody>
      </p:sp>
      <p:graphicFrame>
        <p:nvGraphicFramePr>
          <p:cNvPr id="18" name="Object 1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7519601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184" name="think-cell Folie" r:id="rId6" imgW="663" imgH="663" progId="TCLayout.ActiveDocument.1">
                  <p:embed/>
                </p:oleObj>
              </mc:Choice>
              <mc:Fallback>
                <p:oleObj name="think-cell Folie" r:id="rId6" imgW="663" imgH="66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Datumsplatzhalter 5"/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8EC0E845-BFA1-4738-AD10-12DA7C84008C}" type="datetime1">
              <a:rPr lang="sk-SK" noProof="0" smtClean="0"/>
              <a:t>30. 11. 2020</a:t>
            </a:fld>
            <a:endParaRPr lang="sk-SK" noProof="0" dirty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sk-SK" noProof="0"/>
              <a:t>Päta</a:t>
            </a:r>
            <a:endParaRPr lang="sk-SK" noProof="0"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r>
              <a:rPr lang="sk-SK" noProof="0"/>
              <a:t> </a:t>
            </a:r>
            <a:r>
              <a:rPr lang="sk-SK" noProof="0">
                <a:sym typeface="Wingdings"/>
              </a:rPr>
              <a:t>  </a:t>
            </a:r>
            <a:fld id="{443B15C8-972D-49F6-9B7C-5A2154A8C95F}" type="slidenum">
              <a:rPr lang="sk-SK" noProof="0" smtClean="0"/>
              <a:pPr/>
              <a:t>1</a:t>
            </a:fld>
            <a:endParaRPr lang="sk-SK" noProof="0" dirty="0"/>
          </a:p>
        </p:txBody>
      </p:sp>
    </p:spTree>
    <p:extLst>
      <p:ext uri="{BB962C8B-B14F-4D97-AF65-F5344CB8AC3E}">
        <p14:creationId xmlns:p14="http://schemas.microsoft.com/office/powerpoint/2010/main" val="3355683139"/>
      </p:ext>
    </p:extLst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Obrázok 12">
            <a:extLst>
              <a:ext uri="{FF2B5EF4-FFF2-40B4-BE49-F238E27FC236}">
                <a16:creationId xmlns:a16="http://schemas.microsoft.com/office/drawing/2014/main" id="{FBAAEE5E-27B4-43D3-BAEB-DF7FF82A837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flipH="1">
            <a:off x="467544" y="1728329"/>
            <a:ext cx="1745330" cy="1059446"/>
          </a:xfrm>
          <a:prstGeom prst="rect">
            <a:avLst/>
          </a:prstGeom>
        </p:spPr>
      </p:pic>
      <p:sp>
        <p:nvSpPr>
          <p:cNvPr id="2" name="Zástupný text 1">
            <a:extLst>
              <a:ext uri="{FF2B5EF4-FFF2-40B4-BE49-F238E27FC236}">
                <a16:creationId xmlns:a16="http://schemas.microsoft.com/office/drawing/2014/main" id="{62E9D76B-B7C1-4A24-8FED-68A88D8147D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sk-SK" dirty="0"/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881C482B-7DF7-4E46-B19E-C6D2CA75757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sk-SK" dirty="0"/>
              <a:t>Kaufland na </a:t>
            </a:r>
            <a:r>
              <a:rPr lang="sk-SK" dirty="0" err="1"/>
              <a:t>slovensku</a:t>
            </a:r>
            <a:endParaRPr lang="sk-SK" dirty="0"/>
          </a:p>
        </p:txBody>
      </p:sp>
      <p:sp>
        <p:nvSpPr>
          <p:cNvPr id="4" name="Nadpis 3">
            <a:extLst>
              <a:ext uri="{FF2B5EF4-FFF2-40B4-BE49-F238E27FC236}">
                <a16:creationId xmlns:a16="http://schemas.microsoft.com/office/drawing/2014/main" id="{2A8ECF16-7E41-4DC1-BBC4-48AE983A4B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288" y="555526"/>
            <a:ext cx="8350079" cy="486576"/>
          </a:xfrm>
        </p:spPr>
        <p:txBody>
          <a:bodyPr/>
          <a:lstStyle/>
          <a:p>
            <a:r>
              <a:rPr lang="sk-SK" dirty="0"/>
              <a:t>Spolupráca so slovenskými pestovateľmi</a:t>
            </a:r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BBBCA32D-9486-45C4-8346-2D5385171E03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/>
        <p:txBody>
          <a:bodyPr/>
          <a:lstStyle/>
          <a:p>
            <a:endParaRPr lang="sk-SK"/>
          </a:p>
        </p:txBody>
      </p:sp>
      <p:sp>
        <p:nvSpPr>
          <p:cNvPr id="6" name="Zástupný objekt pre dátum 5">
            <a:extLst>
              <a:ext uri="{FF2B5EF4-FFF2-40B4-BE49-F238E27FC236}">
                <a16:creationId xmlns:a16="http://schemas.microsoft.com/office/drawing/2014/main" id="{E1D10999-F086-41A0-BAAA-84F8D9699843}"/>
              </a:ext>
            </a:extLst>
          </p:cNvPr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fld id="{ABCC69BF-0892-4274-AFBF-9E0943657B84}" type="datetime1">
              <a:rPr lang="sk-SK" smtClean="0"/>
              <a:t>30. 11. 2020</a:t>
            </a:fld>
            <a:endParaRPr lang="sk-SK" dirty="0"/>
          </a:p>
        </p:txBody>
      </p:sp>
      <p:sp>
        <p:nvSpPr>
          <p:cNvPr id="7" name="Zástupný objekt pre pätu 6">
            <a:extLst>
              <a:ext uri="{FF2B5EF4-FFF2-40B4-BE49-F238E27FC236}">
                <a16:creationId xmlns:a16="http://schemas.microsoft.com/office/drawing/2014/main" id="{EB36D62A-3CDB-4DB5-A336-099361394363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r>
              <a:rPr lang="sk-SK" noProof="0"/>
              <a:t>Päta</a:t>
            </a:r>
            <a:endParaRPr lang="sk-SK" noProof="0" dirty="0"/>
          </a:p>
        </p:txBody>
      </p:sp>
      <p:sp>
        <p:nvSpPr>
          <p:cNvPr id="8" name="Zástupný objekt pre číslo snímky 7">
            <a:extLst>
              <a:ext uri="{FF2B5EF4-FFF2-40B4-BE49-F238E27FC236}">
                <a16:creationId xmlns:a16="http://schemas.microsoft.com/office/drawing/2014/main" id="{65993EF5-B817-422B-9914-1D0A67E960D7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r>
              <a:rPr lang="sk-SK" noProof="0">
                <a:sym typeface="Wingdings"/>
              </a:rPr>
              <a:t>  </a:t>
            </a:r>
            <a:fld id="{443B15C8-972D-49F6-9B7C-5A2154A8C95F}" type="slidenum">
              <a:rPr lang="sk-SK" noProof="0" smtClean="0"/>
              <a:pPr/>
              <a:t>10</a:t>
            </a:fld>
            <a:endParaRPr lang="sk-SK" noProof="0" dirty="0"/>
          </a:p>
        </p:txBody>
      </p:sp>
      <p:graphicFrame>
        <p:nvGraphicFramePr>
          <p:cNvPr id="9" name="Objekt 8">
            <a:extLst>
              <a:ext uri="{FF2B5EF4-FFF2-40B4-BE49-F238E27FC236}">
                <a16:creationId xmlns:a16="http://schemas.microsoft.com/office/drawing/2014/main" id="{F821524E-DC13-4A66-8395-A9ABD58950A1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175509526"/>
              </p:ext>
            </p:extLst>
          </p:nvPr>
        </p:nvGraphicFramePr>
        <p:xfrm>
          <a:off x="1866900" y="4011611"/>
          <a:ext cx="6002313" cy="52063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200" name="Worksheet" r:id="rId4" imgW="6105571" imgH="581060" progId="Excel.Sheet.12">
                  <p:embed/>
                </p:oleObj>
              </mc:Choice>
              <mc:Fallback>
                <p:oleObj name="Worksheet" r:id="rId4" imgW="6105571" imgH="581060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866900" y="4011611"/>
                        <a:ext cx="6002313" cy="52063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Graf 9">
            <a:extLst>
              <a:ext uri="{FF2B5EF4-FFF2-40B4-BE49-F238E27FC236}">
                <a16:creationId xmlns:a16="http://schemas.microsoft.com/office/drawing/2014/main" id="{F30D8E85-7C09-4608-AE63-2431C8F7C84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274061817"/>
              </p:ext>
            </p:extLst>
          </p:nvPr>
        </p:nvGraphicFramePr>
        <p:xfrm>
          <a:off x="2372691" y="1042102"/>
          <a:ext cx="4572000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1266800437"/>
      </p:ext>
    </p:extLst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Obrázok 11">
            <a:extLst>
              <a:ext uri="{FF2B5EF4-FFF2-40B4-BE49-F238E27FC236}">
                <a16:creationId xmlns:a16="http://schemas.microsoft.com/office/drawing/2014/main" id="{0C50C5B9-A45D-4F43-A212-D2CBBFE954F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68670" y="1726317"/>
            <a:ext cx="1630639" cy="1205473"/>
          </a:xfrm>
          <a:prstGeom prst="rect">
            <a:avLst/>
          </a:prstGeom>
        </p:spPr>
      </p:pic>
      <p:sp>
        <p:nvSpPr>
          <p:cNvPr id="2" name="Zástupný text 1">
            <a:extLst>
              <a:ext uri="{FF2B5EF4-FFF2-40B4-BE49-F238E27FC236}">
                <a16:creationId xmlns:a16="http://schemas.microsoft.com/office/drawing/2014/main" id="{57112A7F-989F-44CF-84E1-F48FF691FEE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sk-SK" dirty="0"/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3B75037B-3DCE-44C9-AEEB-6F97AEF11072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sk-SK" dirty="0"/>
              <a:t>Kaufland na </a:t>
            </a:r>
            <a:r>
              <a:rPr lang="sk-SK" dirty="0" err="1"/>
              <a:t>slovensku</a:t>
            </a:r>
            <a:endParaRPr lang="sk-SK" dirty="0"/>
          </a:p>
        </p:txBody>
      </p:sp>
      <p:sp>
        <p:nvSpPr>
          <p:cNvPr id="4" name="Nadpis 3">
            <a:extLst>
              <a:ext uri="{FF2B5EF4-FFF2-40B4-BE49-F238E27FC236}">
                <a16:creationId xmlns:a16="http://schemas.microsoft.com/office/drawing/2014/main" id="{90DCA62B-107F-44D5-A2B8-AE0BEBAA1B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288" y="555526"/>
            <a:ext cx="8350079" cy="486576"/>
          </a:xfrm>
        </p:spPr>
        <p:txBody>
          <a:bodyPr/>
          <a:lstStyle/>
          <a:p>
            <a:r>
              <a:rPr lang="sk-SK" dirty="0"/>
              <a:t>Spolupráca so slovenskými pestovateľmi</a:t>
            </a:r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99B020B4-2923-407E-9DDC-2B92DFC739B9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/>
        <p:txBody>
          <a:bodyPr/>
          <a:lstStyle/>
          <a:p>
            <a:endParaRPr lang="sk-SK"/>
          </a:p>
        </p:txBody>
      </p:sp>
      <p:sp>
        <p:nvSpPr>
          <p:cNvPr id="6" name="Zástupný objekt pre dátum 5">
            <a:extLst>
              <a:ext uri="{FF2B5EF4-FFF2-40B4-BE49-F238E27FC236}">
                <a16:creationId xmlns:a16="http://schemas.microsoft.com/office/drawing/2014/main" id="{CD8A7057-8D46-4C32-9596-5EDACEEE4E35}"/>
              </a:ext>
            </a:extLst>
          </p:cNvPr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fld id="{ABCC69BF-0892-4274-AFBF-9E0943657B84}" type="datetime1">
              <a:rPr lang="sk-SK" smtClean="0"/>
              <a:t>30. 11. 2020</a:t>
            </a:fld>
            <a:endParaRPr lang="sk-SK" dirty="0"/>
          </a:p>
        </p:txBody>
      </p:sp>
      <p:sp>
        <p:nvSpPr>
          <p:cNvPr id="7" name="Zástupný objekt pre pätu 6">
            <a:extLst>
              <a:ext uri="{FF2B5EF4-FFF2-40B4-BE49-F238E27FC236}">
                <a16:creationId xmlns:a16="http://schemas.microsoft.com/office/drawing/2014/main" id="{3D912907-EDC5-4E33-B562-77634AE38629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r>
              <a:rPr lang="sk-SK" noProof="0"/>
              <a:t>Päta</a:t>
            </a:r>
            <a:endParaRPr lang="sk-SK" noProof="0" dirty="0"/>
          </a:p>
        </p:txBody>
      </p:sp>
      <p:sp>
        <p:nvSpPr>
          <p:cNvPr id="8" name="Zástupný objekt pre číslo snímky 7">
            <a:extLst>
              <a:ext uri="{FF2B5EF4-FFF2-40B4-BE49-F238E27FC236}">
                <a16:creationId xmlns:a16="http://schemas.microsoft.com/office/drawing/2014/main" id="{6663125A-556B-42E1-AD42-F63B6250529E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r>
              <a:rPr lang="sk-SK" noProof="0">
                <a:sym typeface="Wingdings"/>
              </a:rPr>
              <a:t>  </a:t>
            </a:r>
            <a:fld id="{443B15C8-972D-49F6-9B7C-5A2154A8C95F}" type="slidenum">
              <a:rPr lang="sk-SK" noProof="0" smtClean="0"/>
              <a:pPr/>
              <a:t>11</a:t>
            </a:fld>
            <a:endParaRPr lang="sk-SK" noProof="0" dirty="0"/>
          </a:p>
        </p:txBody>
      </p:sp>
      <p:graphicFrame>
        <p:nvGraphicFramePr>
          <p:cNvPr id="10" name="Objekt 9">
            <a:extLst>
              <a:ext uri="{FF2B5EF4-FFF2-40B4-BE49-F238E27FC236}">
                <a16:creationId xmlns:a16="http://schemas.microsoft.com/office/drawing/2014/main" id="{6F287E6F-C1DB-45A2-8816-B4CAE1A56AB8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182408499"/>
              </p:ext>
            </p:extLst>
          </p:nvPr>
        </p:nvGraphicFramePr>
        <p:xfrm>
          <a:off x="1835696" y="3951220"/>
          <a:ext cx="5695950" cy="5810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19" name="Worksheet" r:id="rId4" imgW="5696119" imgH="581060" progId="Excel.Sheet.12">
                  <p:embed/>
                </p:oleObj>
              </mc:Choice>
              <mc:Fallback>
                <p:oleObj name="Worksheet" r:id="rId4" imgW="5696119" imgH="581060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835696" y="3951220"/>
                        <a:ext cx="5695950" cy="5810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1" name="Graf 10">
            <a:extLst>
              <a:ext uri="{FF2B5EF4-FFF2-40B4-BE49-F238E27FC236}">
                <a16:creationId xmlns:a16="http://schemas.microsoft.com/office/drawing/2014/main" id="{A6B5911F-0F21-4D77-9E3F-2E0F459D0D0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458021324"/>
              </p:ext>
            </p:extLst>
          </p:nvPr>
        </p:nvGraphicFramePr>
        <p:xfrm>
          <a:off x="2372691" y="1200150"/>
          <a:ext cx="4572000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1075547035"/>
      </p:ext>
    </p:extLst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Obrázok 11">
            <a:extLst>
              <a:ext uri="{FF2B5EF4-FFF2-40B4-BE49-F238E27FC236}">
                <a16:creationId xmlns:a16="http://schemas.microsoft.com/office/drawing/2014/main" id="{6E35245B-BB62-41D3-B1F7-A017DD8C318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9552" y="1923678"/>
            <a:ext cx="1656184" cy="1080120"/>
          </a:xfrm>
          <a:prstGeom prst="rect">
            <a:avLst/>
          </a:prstGeom>
        </p:spPr>
      </p:pic>
      <p:sp>
        <p:nvSpPr>
          <p:cNvPr id="2" name="Zástupný text 1">
            <a:extLst>
              <a:ext uri="{FF2B5EF4-FFF2-40B4-BE49-F238E27FC236}">
                <a16:creationId xmlns:a16="http://schemas.microsoft.com/office/drawing/2014/main" id="{8B5ACFBF-AE43-4EDD-9058-B4B5A214ADB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sk-SK" dirty="0"/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097B973B-69BB-4E82-8EC4-1ED81EAB1AB6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sk-SK" dirty="0"/>
              <a:t>Kaufland na </a:t>
            </a:r>
            <a:r>
              <a:rPr lang="sk-SK" dirty="0" err="1"/>
              <a:t>slovensku</a:t>
            </a:r>
            <a:endParaRPr lang="sk-SK" dirty="0"/>
          </a:p>
        </p:txBody>
      </p:sp>
      <p:sp>
        <p:nvSpPr>
          <p:cNvPr id="4" name="Nadpis 3">
            <a:extLst>
              <a:ext uri="{FF2B5EF4-FFF2-40B4-BE49-F238E27FC236}">
                <a16:creationId xmlns:a16="http://schemas.microsoft.com/office/drawing/2014/main" id="{C0A6DFC6-0B58-470E-B0DD-910B11643F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288" y="555526"/>
            <a:ext cx="8350079" cy="486576"/>
          </a:xfrm>
        </p:spPr>
        <p:txBody>
          <a:bodyPr/>
          <a:lstStyle/>
          <a:p>
            <a:r>
              <a:rPr lang="sk-SK" dirty="0"/>
              <a:t>Spolupráca so slovenskými pestovateľmi</a:t>
            </a:r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DD461BD3-DD9E-45A0-A29D-B96CC38945CB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/>
        <p:txBody>
          <a:bodyPr/>
          <a:lstStyle/>
          <a:p>
            <a:endParaRPr lang="sk-SK"/>
          </a:p>
        </p:txBody>
      </p:sp>
      <p:sp>
        <p:nvSpPr>
          <p:cNvPr id="6" name="Zástupný objekt pre dátum 5">
            <a:extLst>
              <a:ext uri="{FF2B5EF4-FFF2-40B4-BE49-F238E27FC236}">
                <a16:creationId xmlns:a16="http://schemas.microsoft.com/office/drawing/2014/main" id="{9E8D5B4A-1E6E-4F50-A432-E676BB524DF5}"/>
              </a:ext>
            </a:extLst>
          </p:cNvPr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fld id="{ABCC69BF-0892-4274-AFBF-9E0943657B84}" type="datetime1">
              <a:rPr lang="sk-SK" smtClean="0"/>
              <a:t>30. 11. 2020</a:t>
            </a:fld>
            <a:endParaRPr lang="sk-SK" dirty="0"/>
          </a:p>
        </p:txBody>
      </p:sp>
      <p:sp>
        <p:nvSpPr>
          <p:cNvPr id="7" name="Zástupný objekt pre pätu 6">
            <a:extLst>
              <a:ext uri="{FF2B5EF4-FFF2-40B4-BE49-F238E27FC236}">
                <a16:creationId xmlns:a16="http://schemas.microsoft.com/office/drawing/2014/main" id="{FC5BD759-A7E2-4DFB-BCDC-E7EDFC1D6AEC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r>
              <a:rPr lang="sk-SK" noProof="0"/>
              <a:t>Päta</a:t>
            </a:r>
            <a:endParaRPr lang="sk-SK" noProof="0" dirty="0"/>
          </a:p>
        </p:txBody>
      </p:sp>
      <p:sp>
        <p:nvSpPr>
          <p:cNvPr id="8" name="Zástupný objekt pre číslo snímky 7">
            <a:extLst>
              <a:ext uri="{FF2B5EF4-FFF2-40B4-BE49-F238E27FC236}">
                <a16:creationId xmlns:a16="http://schemas.microsoft.com/office/drawing/2014/main" id="{A93ECB57-6F03-4E68-8543-9230C5736187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r>
              <a:rPr lang="sk-SK" noProof="0">
                <a:sym typeface="Wingdings"/>
              </a:rPr>
              <a:t>  </a:t>
            </a:r>
            <a:fld id="{443B15C8-972D-49F6-9B7C-5A2154A8C95F}" type="slidenum">
              <a:rPr lang="sk-SK" noProof="0" smtClean="0"/>
              <a:pPr/>
              <a:t>12</a:t>
            </a:fld>
            <a:endParaRPr lang="sk-SK" noProof="0" dirty="0"/>
          </a:p>
        </p:txBody>
      </p:sp>
      <p:graphicFrame>
        <p:nvGraphicFramePr>
          <p:cNvPr id="9" name="Objekt 8">
            <a:extLst>
              <a:ext uri="{FF2B5EF4-FFF2-40B4-BE49-F238E27FC236}">
                <a16:creationId xmlns:a16="http://schemas.microsoft.com/office/drawing/2014/main" id="{A1FA6059-8D22-47A7-A474-1FDA55C0FE84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618665904"/>
              </p:ext>
            </p:extLst>
          </p:nvPr>
        </p:nvGraphicFramePr>
        <p:xfrm>
          <a:off x="1790700" y="3951220"/>
          <a:ext cx="5562600" cy="5810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43" name="Worksheet" r:id="rId4" imgW="5562548" imgH="581060" progId="Excel.Sheet.12">
                  <p:embed/>
                </p:oleObj>
              </mc:Choice>
              <mc:Fallback>
                <p:oleObj name="Worksheet" r:id="rId4" imgW="5562548" imgH="581060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90700" y="3951220"/>
                        <a:ext cx="5562600" cy="5810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Graf 9">
            <a:extLst>
              <a:ext uri="{FF2B5EF4-FFF2-40B4-BE49-F238E27FC236}">
                <a16:creationId xmlns:a16="http://schemas.microsoft.com/office/drawing/2014/main" id="{9051F8EE-D065-442E-BAA5-D1A30EB2A19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387089026"/>
              </p:ext>
            </p:extLst>
          </p:nvPr>
        </p:nvGraphicFramePr>
        <p:xfrm>
          <a:off x="2286000" y="1200150"/>
          <a:ext cx="4572000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1880676632"/>
      </p:ext>
    </p:extLst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04959142-E515-4729-A5B9-4C02E70B1C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k-SK" sz="3200" dirty="0"/>
              <a:t>Formy komunikácie slovenských plodín</a:t>
            </a:r>
            <a:br>
              <a:rPr lang="sk-SK" dirty="0"/>
            </a:br>
            <a:endParaRPr lang="sk-SK" dirty="0"/>
          </a:p>
        </p:txBody>
      </p:sp>
      <p:sp>
        <p:nvSpPr>
          <p:cNvPr id="3" name="Zástupný objekt pre dátum 2">
            <a:extLst>
              <a:ext uri="{FF2B5EF4-FFF2-40B4-BE49-F238E27FC236}">
                <a16:creationId xmlns:a16="http://schemas.microsoft.com/office/drawing/2014/main" id="{99EFB856-DFFB-4BF2-BCFE-2009D141D76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3FD2E6-F7D4-4478-8337-A7477641E402}" type="datetime1">
              <a:rPr lang="sk-SK" noProof="0" smtClean="0"/>
              <a:t>30. 11. 2020</a:t>
            </a:fld>
            <a:endParaRPr lang="sk-SK" noProof="0" dirty="0"/>
          </a:p>
        </p:txBody>
      </p:sp>
      <p:sp>
        <p:nvSpPr>
          <p:cNvPr id="4" name="Zástupný objekt pre pätu 3">
            <a:extLst>
              <a:ext uri="{FF2B5EF4-FFF2-40B4-BE49-F238E27FC236}">
                <a16:creationId xmlns:a16="http://schemas.microsoft.com/office/drawing/2014/main" id="{FD7AD1E1-DF15-4423-9AF2-FE962D5BFE3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k-SK" noProof="0"/>
              <a:t>Päta</a:t>
            </a:r>
            <a:endParaRPr lang="sk-SK" noProof="0" dirty="0"/>
          </a:p>
        </p:txBody>
      </p:sp>
      <p:sp>
        <p:nvSpPr>
          <p:cNvPr id="5" name="Zástupný objekt pre číslo snímky 4">
            <a:extLst>
              <a:ext uri="{FF2B5EF4-FFF2-40B4-BE49-F238E27FC236}">
                <a16:creationId xmlns:a16="http://schemas.microsoft.com/office/drawing/2014/main" id="{AC76C943-FFE7-4A50-82B3-B44895D51F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sk-SK" noProof="0"/>
              <a:t> </a:t>
            </a:r>
            <a:r>
              <a:rPr lang="sk-SK" noProof="0">
                <a:sym typeface="Wingdings"/>
              </a:rPr>
              <a:t>  </a:t>
            </a:r>
            <a:fld id="{443B15C8-972D-49F6-9B7C-5A2154A8C95F}" type="slidenum">
              <a:rPr lang="sk-SK" noProof="0" smtClean="0"/>
              <a:pPr/>
              <a:t>13</a:t>
            </a:fld>
            <a:endParaRPr lang="sk-SK" noProof="0" dirty="0"/>
          </a:p>
        </p:txBody>
      </p:sp>
    </p:spTree>
    <p:extLst>
      <p:ext uri="{BB962C8B-B14F-4D97-AF65-F5344CB8AC3E}">
        <p14:creationId xmlns:p14="http://schemas.microsoft.com/office/powerpoint/2010/main" val="1818100629"/>
      </p:ext>
    </p:extLst>
  </p:cSld>
  <p:clrMapOvr>
    <a:masterClrMapping/>
  </p:clrMapOvr>
  <p:transition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text 1">
            <a:extLst>
              <a:ext uri="{FF2B5EF4-FFF2-40B4-BE49-F238E27FC236}">
                <a16:creationId xmlns:a16="http://schemas.microsoft.com/office/drawing/2014/main" id="{55C88011-8A41-44A9-8145-F20EFAF54B1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95289" y="987575"/>
            <a:ext cx="8353424" cy="3600400"/>
          </a:xfrm>
        </p:spPr>
        <p:txBody>
          <a:bodyPr/>
          <a:lstStyle/>
          <a:p>
            <a:pPr marL="171450" indent="-171450">
              <a:buFont typeface="Wingdings" panose="05000000000000000000" pitchFamily="2" charset="2"/>
              <a:buChar char="Ø"/>
            </a:pPr>
            <a:r>
              <a:rPr lang="sk-SK" sz="1100" dirty="0"/>
              <a:t>Súčasť nášho prospektu, viackrát do roka</a:t>
            </a:r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sk-SK" sz="1100" dirty="0"/>
              <a:t>Prezentácia slovenských pestovateľov</a:t>
            </a:r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sk-SK" sz="1100" dirty="0"/>
              <a:t>Zaujímavosti o pestovaní, odrodách, jednotlivých pestovateľoch</a:t>
            </a:r>
          </a:p>
          <a:p>
            <a:endParaRPr lang="sk-SK" sz="1100" dirty="0"/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13476CB4-164F-41C9-A144-3B290312216E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sk-SK" dirty="0"/>
              <a:t>Komunikácia</a:t>
            </a:r>
          </a:p>
        </p:txBody>
      </p:sp>
      <p:sp>
        <p:nvSpPr>
          <p:cNvPr id="4" name="Nadpis 3">
            <a:extLst>
              <a:ext uri="{FF2B5EF4-FFF2-40B4-BE49-F238E27FC236}">
                <a16:creationId xmlns:a16="http://schemas.microsoft.com/office/drawing/2014/main" id="{1D45BD0E-7DC4-4488-9B88-964EEFF046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288" y="555526"/>
            <a:ext cx="8350079" cy="486576"/>
          </a:xfrm>
        </p:spPr>
        <p:txBody>
          <a:bodyPr/>
          <a:lstStyle/>
          <a:p>
            <a:r>
              <a:rPr lang="sk-SK" dirty="0"/>
              <a:t>Tematické stránky v Prospekte</a:t>
            </a:r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DBA25E7D-1B03-4BBE-AF26-090B75E66048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/>
        <p:txBody>
          <a:bodyPr/>
          <a:lstStyle/>
          <a:p>
            <a:endParaRPr lang="sk-SK"/>
          </a:p>
        </p:txBody>
      </p:sp>
      <p:sp>
        <p:nvSpPr>
          <p:cNvPr id="6" name="Zástupný objekt pre dátum 5">
            <a:extLst>
              <a:ext uri="{FF2B5EF4-FFF2-40B4-BE49-F238E27FC236}">
                <a16:creationId xmlns:a16="http://schemas.microsoft.com/office/drawing/2014/main" id="{41D472C7-D3E7-4FD6-A2A1-AFF5FB4A7478}"/>
              </a:ext>
            </a:extLst>
          </p:cNvPr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fld id="{ABCC69BF-0892-4274-AFBF-9E0943657B84}" type="datetime1">
              <a:rPr lang="sk-SK" smtClean="0"/>
              <a:t>30. 11. 2020</a:t>
            </a:fld>
            <a:endParaRPr lang="sk-SK" dirty="0"/>
          </a:p>
        </p:txBody>
      </p:sp>
      <p:sp>
        <p:nvSpPr>
          <p:cNvPr id="7" name="Zástupný objekt pre pätu 6">
            <a:extLst>
              <a:ext uri="{FF2B5EF4-FFF2-40B4-BE49-F238E27FC236}">
                <a16:creationId xmlns:a16="http://schemas.microsoft.com/office/drawing/2014/main" id="{D18203B6-FBA9-44B7-987A-0D98C9728EB4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r>
              <a:rPr lang="sk-SK" noProof="0"/>
              <a:t>Päta</a:t>
            </a:r>
            <a:endParaRPr lang="sk-SK" noProof="0" dirty="0"/>
          </a:p>
        </p:txBody>
      </p:sp>
      <p:sp>
        <p:nvSpPr>
          <p:cNvPr id="8" name="Zástupný objekt pre číslo snímky 7">
            <a:extLst>
              <a:ext uri="{FF2B5EF4-FFF2-40B4-BE49-F238E27FC236}">
                <a16:creationId xmlns:a16="http://schemas.microsoft.com/office/drawing/2014/main" id="{3D647AB4-A9DE-4C15-990A-4E58E17AE6FF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r>
              <a:rPr lang="sk-SK" noProof="0">
                <a:sym typeface="Wingdings"/>
              </a:rPr>
              <a:t>  </a:t>
            </a:r>
            <a:fld id="{443B15C8-972D-49F6-9B7C-5A2154A8C95F}" type="slidenum">
              <a:rPr lang="sk-SK" noProof="0" smtClean="0"/>
              <a:pPr/>
              <a:t>14</a:t>
            </a:fld>
            <a:endParaRPr lang="sk-SK" noProof="0" dirty="0"/>
          </a:p>
        </p:txBody>
      </p:sp>
      <p:pic>
        <p:nvPicPr>
          <p:cNvPr id="12" name="Obrázok 11">
            <a:extLst>
              <a:ext uri="{FF2B5EF4-FFF2-40B4-BE49-F238E27FC236}">
                <a16:creationId xmlns:a16="http://schemas.microsoft.com/office/drawing/2014/main" id="{9CCBE209-27BE-4504-BE35-AEF832EFCDC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71884" y="1707654"/>
            <a:ext cx="2509969" cy="3168352"/>
          </a:xfrm>
          <a:prstGeom prst="rect">
            <a:avLst/>
          </a:prstGeom>
        </p:spPr>
      </p:pic>
      <p:pic>
        <p:nvPicPr>
          <p:cNvPr id="13" name="Obrázok 12">
            <a:extLst>
              <a:ext uri="{FF2B5EF4-FFF2-40B4-BE49-F238E27FC236}">
                <a16:creationId xmlns:a16="http://schemas.microsoft.com/office/drawing/2014/main" id="{7C510B59-07B9-4C3E-9DFE-1B2B9DF68D3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02442" y="1219782"/>
            <a:ext cx="2761706" cy="3656224"/>
          </a:xfrm>
          <a:prstGeom prst="rect">
            <a:avLst/>
          </a:prstGeom>
        </p:spPr>
      </p:pic>
      <p:pic>
        <p:nvPicPr>
          <p:cNvPr id="14" name="Obrázok 13">
            <a:extLst>
              <a:ext uri="{FF2B5EF4-FFF2-40B4-BE49-F238E27FC236}">
                <a16:creationId xmlns:a16="http://schemas.microsoft.com/office/drawing/2014/main" id="{68944628-448E-430C-9B11-7DD5436CCC0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55577" y="1707654"/>
            <a:ext cx="2632422" cy="31683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90294868"/>
      </p:ext>
    </p:extLst>
  </p:cSld>
  <p:clrMapOvr>
    <a:masterClrMapping/>
  </p:clrMapOvr>
  <p:transition>
    <p:fad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Obrázok 11">
            <a:extLst>
              <a:ext uri="{FF2B5EF4-FFF2-40B4-BE49-F238E27FC236}">
                <a16:creationId xmlns:a16="http://schemas.microsoft.com/office/drawing/2014/main" id="{5E496513-A4D6-4511-BB11-6BA828E9107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44008" y="296023"/>
            <a:ext cx="3384376" cy="2467006"/>
          </a:xfrm>
          <a:prstGeom prst="rect">
            <a:avLst/>
          </a:prstGeom>
        </p:spPr>
      </p:pic>
      <p:sp>
        <p:nvSpPr>
          <p:cNvPr id="2" name="Zástupný text 1">
            <a:extLst>
              <a:ext uri="{FF2B5EF4-FFF2-40B4-BE49-F238E27FC236}">
                <a16:creationId xmlns:a16="http://schemas.microsoft.com/office/drawing/2014/main" id="{0B9A0400-BB37-440B-B440-C6C455AD198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91942" y="913875"/>
            <a:ext cx="8353424" cy="3456085"/>
          </a:xfrm>
        </p:spPr>
        <p:txBody>
          <a:bodyPr/>
          <a:lstStyle/>
          <a:p>
            <a:pPr marL="171450" indent="-171450">
              <a:buFont typeface="Wingdings" panose="05000000000000000000" pitchFamily="2" charset="2"/>
              <a:buChar char="Ø"/>
            </a:pPr>
            <a:r>
              <a:rPr lang="sk-SK" sz="1100" dirty="0"/>
              <a:t>Začiatok júl 2020</a:t>
            </a:r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sk-SK" sz="1100" dirty="0"/>
              <a:t>Komunikácia na našej webovej stránke, </a:t>
            </a:r>
            <a:r>
              <a:rPr lang="sk-SK" sz="1100" dirty="0" err="1"/>
              <a:t>instagrame</a:t>
            </a:r>
            <a:endParaRPr lang="sk-SK" sz="1100" dirty="0"/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sk-SK" sz="1100" dirty="0"/>
              <a:t>Trvanie 2 týždne, každý týždeň 2x stránka </a:t>
            </a:r>
            <a:r>
              <a:rPr lang="sk-SK" sz="1100" dirty="0" err="1"/>
              <a:t>Vitabomba</a:t>
            </a:r>
            <a:endParaRPr lang="sk-SK" sz="1100" dirty="0"/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sk-SK" sz="1100" dirty="0"/>
              <a:t>Začiatok prezentácie OZ aj na </a:t>
            </a:r>
            <a:r>
              <a:rPr lang="sk-SK" sz="1100" dirty="0" err="1"/>
              <a:t>instragrame</a:t>
            </a:r>
            <a:r>
              <a:rPr lang="sk-SK" sz="1100" dirty="0"/>
              <a:t>, </a:t>
            </a:r>
            <a:r>
              <a:rPr lang="sk-SK" sz="1100" dirty="0" err="1"/>
              <a:t>facebooku</a:t>
            </a:r>
            <a:endParaRPr lang="sk-SK" sz="1100" dirty="0"/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D3DF7365-ACA4-402E-BFB9-E4143007B6F6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sk-SK" dirty="0"/>
              <a:t>Komunikácia</a:t>
            </a:r>
          </a:p>
        </p:txBody>
      </p:sp>
      <p:sp>
        <p:nvSpPr>
          <p:cNvPr id="4" name="Nadpis 3">
            <a:extLst>
              <a:ext uri="{FF2B5EF4-FFF2-40B4-BE49-F238E27FC236}">
                <a16:creationId xmlns:a16="http://schemas.microsoft.com/office/drawing/2014/main" id="{3179783B-D80E-4CB6-B002-B22B13E2D1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288" y="555526"/>
            <a:ext cx="8350079" cy="486576"/>
          </a:xfrm>
        </p:spPr>
        <p:txBody>
          <a:bodyPr/>
          <a:lstStyle/>
          <a:p>
            <a:r>
              <a:rPr lang="sk-SK" dirty="0"/>
              <a:t>K-</a:t>
            </a:r>
            <a:r>
              <a:rPr lang="sk-SK" dirty="0" err="1"/>
              <a:t>Deal</a:t>
            </a:r>
            <a:r>
              <a:rPr lang="sk-SK" dirty="0"/>
              <a:t> dva týždne výhod</a:t>
            </a:r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9B04B675-A82D-4057-A5E5-0F303DEB4715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/>
        <p:txBody>
          <a:bodyPr/>
          <a:lstStyle/>
          <a:p>
            <a:endParaRPr lang="sk-SK"/>
          </a:p>
        </p:txBody>
      </p:sp>
      <p:sp>
        <p:nvSpPr>
          <p:cNvPr id="6" name="Zástupný objekt pre dátum 5">
            <a:extLst>
              <a:ext uri="{FF2B5EF4-FFF2-40B4-BE49-F238E27FC236}">
                <a16:creationId xmlns:a16="http://schemas.microsoft.com/office/drawing/2014/main" id="{59DFAF30-CE32-4095-9016-DAF3DD6FFC33}"/>
              </a:ext>
            </a:extLst>
          </p:cNvPr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fld id="{ABCC69BF-0892-4274-AFBF-9E0943657B84}" type="datetime1">
              <a:rPr lang="sk-SK" smtClean="0"/>
              <a:t>30. 11. 2020</a:t>
            </a:fld>
            <a:endParaRPr lang="sk-SK" dirty="0"/>
          </a:p>
        </p:txBody>
      </p:sp>
      <p:sp>
        <p:nvSpPr>
          <p:cNvPr id="7" name="Zástupný objekt pre pätu 6">
            <a:extLst>
              <a:ext uri="{FF2B5EF4-FFF2-40B4-BE49-F238E27FC236}">
                <a16:creationId xmlns:a16="http://schemas.microsoft.com/office/drawing/2014/main" id="{17E8D8CF-4778-4BCB-A457-FCDAB946AB7B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r>
              <a:rPr lang="sk-SK" noProof="0" dirty="0"/>
              <a:t>Päta</a:t>
            </a:r>
          </a:p>
        </p:txBody>
      </p:sp>
      <p:sp>
        <p:nvSpPr>
          <p:cNvPr id="8" name="Zástupný objekt pre číslo snímky 7">
            <a:extLst>
              <a:ext uri="{FF2B5EF4-FFF2-40B4-BE49-F238E27FC236}">
                <a16:creationId xmlns:a16="http://schemas.microsoft.com/office/drawing/2014/main" id="{088537FF-FD43-4E44-BE27-EBB8DCEA6715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r>
              <a:rPr lang="sk-SK" noProof="0">
                <a:sym typeface="Wingdings"/>
              </a:rPr>
              <a:t>  </a:t>
            </a:r>
            <a:fld id="{443B15C8-972D-49F6-9B7C-5A2154A8C95F}" type="slidenum">
              <a:rPr lang="sk-SK" noProof="0" smtClean="0"/>
              <a:pPr/>
              <a:t>15</a:t>
            </a:fld>
            <a:endParaRPr lang="sk-SK" noProof="0" dirty="0"/>
          </a:p>
        </p:txBody>
      </p:sp>
      <p:pic>
        <p:nvPicPr>
          <p:cNvPr id="9" name="Obrázok 8">
            <a:extLst>
              <a:ext uri="{FF2B5EF4-FFF2-40B4-BE49-F238E27FC236}">
                <a16:creationId xmlns:a16="http://schemas.microsoft.com/office/drawing/2014/main" id="{315DAD3E-1A55-4BB1-8744-D0AE936A616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7544" y="1934157"/>
            <a:ext cx="2311399" cy="2752866"/>
          </a:xfrm>
          <a:prstGeom prst="rect">
            <a:avLst/>
          </a:prstGeom>
        </p:spPr>
      </p:pic>
      <p:pic>
        <p:nvPicPr>
          <p:cNvPr id="10" name="Obrázok 9">
            <a:extLst>
              <a:ext uri="{FF2B5EF4-FFF2-40B4-BE49-F238E27FC236}">
                <a16:creationId xmlns:a16="http://schemas.microsoft.com/office/drawing/2014/main" id="{CD40D224-DAE8-47AA-B7D9-C0F01CB7DBE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811760" y="1939730"/>
            <a:ext cx="2546695" cy="2760498"/>
          </a:xfrm>
          <a:prstGeom prst="rect">
            <a:avLst/>
          </a:prstGeom>
        </p:spPr>
      </p:pic>
      <p:pic>
        <p:nvPicPr>
          <p:cNvPr id="11" name="Obrázok 10">
            <a:extLst>
              <a:ext uri="{FF2B5EF4-FFF2-40B4-BE49-F238E27FC236}">
                <a16:creationId xmlns:a16="http://schemas.microsoft.com/office/drawing/2014/main" id="{9B3E143F-AE12-4077-9FC9-538DDEB6A36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358455" y="1912051"/>
            <a:ext cx="2546694" cy="27604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67073"/>
      </p:ext>
    </p:extLst>
  </p:cSld>
  <p:clrMapOvr>
    <a:masterClrMapping/>
  </p:clrMapOvr>
  <p:transition>
    <p:fade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rázok 2">
            <a:extLst>
              <a:ext uri="{FF2B5EF4-FFF2-40B4-BE49-F238E27FC236}">
                <a16:creationId xmlns:a16="http://schemas.microsoft.com/office/drawing/2014/main" id="{C65B79FD-9E4B-4A07-863C-5CA52B8964B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460" y="1367698"/>
            <a:ext cx="9143678" cy="1960416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11" name="Obrázok 10" descr="Obrázok, na ktorom je stôl, jedlo, ovocie, vnútri&#10;&#10;Automaticky generovaný popis">
            <a:extLst>
              <a:ext uri="{FF2B5EF4-FFF2-40B4-BE49-F238E27FC236}">
                <a16:creationId xmlns:a16="http://schemas.microsoft.com/office/drawing/2014/main" id="{B6C8450A-214D-4CD6-A128-244B4D2EB4F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32603" y="2177602"/>
            <a:ext cx="2311398" cy="2965898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2" name="Zástupný objekt pre text 1">
            <a:extLst>
              <a:ext uri="{FF2B5EF4-FFF2-40B4-BE49-F238E27FC236}">
                <a16:creationId xmlns:a16="http://schemas.microsoft.com/office/drawing/2014/main" id="{0213ED43-9DF3-40AD-B971-404FB07E6BF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79127" y="8300"/>
            <a:ext cx="8353424" cy="4632708"/>
          </a:xfrm>
        </p:spPr>
        <p:txBody>
          <a:bodyPr/>
          <a:lstStyle/>
          <a:p>
            <a:r>
              <a:rPr lang="sk-SK" sz="1000" b="1" cap="all" dirty="0">
                <a:solidFill>
                  <a:schemeClr val="accent4"/>
                </a:solidFill>
              </a:rPr>
              <a:t>Čerstvé</a:t>
            </a:r>
            <a:r>
              <a:rPr lang="sk-SK" b="1" dirty="0"/>
              <a:t> </a:t>
            </a:r>
            <a:r>
              <a:rPr lang="sk-SK" sz="1000" b="1" cap="all" dirty="0">
                <a:solidFill>
                  <a:schemeClr val="accent4"/>
                </a:solidFill>
              </a:rPr>
              <a:t>hlavičky:</a:t>
            </a:r>
            <a:endParaRPr lang="sk-SK" b="1" dirty="0"/>
          </a:p>
          <a:p>
            <a:endParaRPr lang="sk-SK" dirty="0"/>
          </a:p>
          <a:p>
            <a:endParaRPr lang="sk-SK" dirty="0"/>
          </a:p>
        </p:txBody>
      </p:sp>
      <p:sp>
        <p:nvSpPr>
          <p:cNvPr id="6" name="Zástupný objekt pre dátum 5">
            <a:extLst>
              <a:ext uri="{FF2B5EF4-FFF2-40B4-BE49-F238E27FC236}">
                <a16:creationId xmlns:a16="http://schemas.microsoft.com/office/drawing/2014/main" id="{BC74CB44-11BA-4859-B399-DD6835503F9A}"/>
              </a:ext>
            </a:extLst>
          </p:cNvPr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fld id="{778882D7-E54F-4B8C-8535-C80B0FEE460A}" type="datetime1">
              <a:rPr lang="sk-SK" smtClean="0"/>
              <a:t>30. 11. 2020</a:t>
            </a:fld>
            <a:endParaRPr lang="sk-SK" dirty="0"/>
          </a:p>
        </p:txBody>
      </p:sp>
      <p:sp>
        <p:nvSpPr>
          <p:cNvPr id="7" name="Zástupný objekt pre pätu 6">
            <a:extLst>
              <a:ext uri="{FF2B5EF4-FFF2-40B4-BE49-F238E27FC236}">
                <a16:creationId xmlns:a16="http://schemas.microsoft.com/office/drawing/2014/main" id="{6F745EBE-D3F1-4871-8C6E-1EA763812BEF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r>
              <a:rPr lang="sk-SK" noProof="0"/>
              <a:t>Päta</a:t>
            </a:r>
            <a:endParaRPr lang="sk-SK" noProof="0" dirty="0"/>
          </a:p>
        </p:txBody>
      </p:sp>
      <p:sp>
        <p:nvSpPr>
          <p:cNvPr id="8" name="Zástupný objekt pre číslo snímky 7">
            <a:extLst>
              <a:ext uri="{FF2B5EF4-FFF2-40B4-BE49-F238E27FC236}">
                <a16:creationId xmlns:a16="http://schemas.microsoft.com/office/drawing/2014/main" id="{04B06BD5-AA1C-4130-8FB9-30276A9B0232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r>
              <a:rPr lang="sk-SK" noProof="0">
                <a:sym typeface="Wingdings"/>
              </a:rPr>
              <a:t>  </a:t>
            </a:r>
            <a:fld id="{443B15C8-972D-49F6-9B7C-5A2154A8C95F}" type="slidenum">
              <a:rPr lang="sk-SK" noProof="0" smtClean="0"/>
              <a:pPr/>
              <a:t>16</a:t>
            </a:fld>
            <a:endParaRPr lang="sk-SK" noProof="0" dirty="0"/>
          </a:p>
        </p:txBody>
      </p:sp>
      <p:pic>
        <p:nvPicPr>
          <p:cNvPr id="10" name="Obrázok 9">
            <a:extLst>
              <a:ext uri="{FF2B5EF4-FFF2-40B4-BE49-F238E27FC236}">
                <a16:creationId xmlns:a16="http://schemas.microsoft.com/office/drawing/2014/main" id="{44E10A9D-BF23-49B1-B504-E517B307EFD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82" y="209217"/>
            <a:ext cx="1357030" cy="1331665"/>
          </a:xfrm>
          <a:prstGeom prst="rect">
            <a:avLst/>
          </a:prstGeom>
        </p:spPr>
      </p:pic>
      <p:pic>
        <p:nvPicPr>
          <p:cNvPr id="15" name="Obrázok 14" descr="Obrázok, na ktorom je vnútri, osoba, stôl, jedlo&#10;&#10;Automaticky generovaný popis">
            <a:extLst>
              <a:ext uri="{FF2B5EF4-FFF2-40B4-BE49-F238E27FC236}">
                <a16:creationId xmlns:a16="http://schemas.microsoft.com/office/drawing/2014/main" id="{AB343673-93EC-485C-9B5A-D75B5D5086B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272283" y="2576579"/>
            <a:ext cx="3672408" cy="2445881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17" name="Obrázok 16" descr="Obrázok, na ktorom je osoba, vnútri, dieťa, mladé&#10;&#10;Automaticky generovaný popis">
            <a:extLst>
              <a:ext uri="{FF2B5EF4-FFF2-40B4-BE49-F238E27FC236}">
                <a16:creationId xmlns:a16="http://schemas.microsoft.com/office/drawing/2014/main" id="{B8B642E0-4079-445C-AB46-464A9B8F655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156176" y="54804"/>
            <a:ext cx="2912196" cy="158330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21" name="Obrázok 20" descr="Obrázok, na ktorom je jedlo, vyplnené, pomaranče, stôl&#10;&#10;Automaticky generovaný popis">
            <a:extLst>
              <a:ext uri="{FF2B5EF4-FFF2-40B4-BE49-F238E27FC236}">
                <a16:creationId xmlns:a16="http://schemas.microsoft.com/office/drawing/2014/main" id="{D0B47176-7979-4B2D-A43F-3531069EE09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716016" y="74628"/>
            <a:ext cx="1217919" cy="158330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25" name="Obrázok 24" descr="Obrázok, na ktorom je stôl, sedenie, vnútri, osoba&#10;&#10;Automaticky generovaný popis">
            <a:extLst>
              <a:ext uri="{FF2B5EF4-FFF2-40B4-BE49-F238E27FC236}">
                <a16:creationId xmlns:a16="http://schemas.microsoft.com/office/drawing/2014/main" id="{F4071CF0-B8E8-4089-8853-6A91DD286C8C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871293" y="135391"/>
            <a:ext cx="2447380" cy="120696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27" name="Obrázok 26" descr="Obrázok, na ktorom je vnútri, stôl, osoba, jedlo&#10;&#10;Automaticky generovaný popis">
            <a:extLst>
              <a:ext uri="{FF2B5EF4-FFF2-40B4-BE49-F238E27FC236}">
                <a16:creationId xmlns:a16="http://schemas.microsoft.com/office/drawing/2014/main" id="{21809A91-5E95-4486-8A4C-D238B46873BE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239786" y="3551992"/>
            <a:ext cx="2160421" cy="1442166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28" name="Obrázok 27" descr="Obrázok, na ktorom je stôl, jedlo, sedenie, vyplnené&#10;&#10;Automaticky generovaný popis">
            <a:extLst>
              <a:ext uri="{FF2B5EF4-FFF2-40B4-BE49-F238E27FC236}">
                <a16:creationId xmlns:a16="http://schemas.microsoft.com/office/drawing/2014/main" id="{4C1AD38B-487E-4B72-877A-D27C7665B8E2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22" y="3442427"/>
            <a:ext cx="1255473" cy="1692773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  <p:extLst>
      <p:ext uri="{BB962C8B-B14F-4D97-AF65-F5344CB8AC3E}">
        <p14:creationId xmlns:p14="http://schemas.microsoft.com/office/powerpoint/2010/main" val="483371003"/>
      </p:ext>
    </p:extLst>
  </p:cSld>
  <p:clrMapOvr>
    <a:masterClrMapping/>
  </p:clrMapOvr>
  <p:transition>
    <p:fade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 Placeholder 2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171450" indent="-171450">
              <a:buFont typeface="Wingdings" panose="05000000000000000000" pitchFamily="2" charset="2"/>
              <a:buChar char="Ø"/>
            </a:pPr>
            <a:r>
              <a:rPr lang="sk-SK" dirty="0"/>
              <a:t>Spolupráca od roku 2018</a:t>
            </a:r>
          </a:p>
          <a:p>
            <a:pPr marL="171450" indent="-171450">
              <a:buFont typeface="Wingdings" panose="05000000000000000000" pitchFamily="2" charset="2"/>
              <a:buChar char="Ø"/>
            </a:pPr>
            <a:endParaRPr lang="sk-SK" dirty="0"/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sk-SK" dirty="0"/>
              <a:t>Každý mesiac vydávame PR článok </a:t>
            </a:r>
          </a:p>
          <a:p>
            <a:pPr marL="171450" indent="-171450">
              <a:buFont typeface="Wingdings" panose="05000000000000000000" pitchFamily="2" charset="2"/>
              <a:buChar char="Ø"/>
            </a:pPr>
            <a:endParaRPr lang="sk-SK" dirty="0"/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sk-SK" dirty="0"/>
              <a:t>Prinášame témy, ktoré informujú o aktuálnej situácii na slovenskom trhu v oblasti OZ a zároveň vedú verejnosť ku väčšej konzumácii ovocia alebo zeleniny </a:t>
            </a:r>
          </a:p>
          <a:p>
            <a:pPr marL="171450" indent="-171450">
              <a:buFont typeface="Wingdings" panose="05000000000000000000" pitchFamily="2" charset="2"/>
              <a:buChar char="Ø"/>
            </a:pPr>
            <a:endParaRPr lang="sk-SK" dirty="0"/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sk-SK" dirty="0"/>
              <a:t>Tento rok sme priniesli témy ako napríklad: o jarnej zelenine, o paradajkách a šaláte s korienkom,  o tekvici, o správnom skladovaní ovocia a zeleniny, o tom prečo je dobré konzumovať jablká</a:t>
            </a:r>
          </a:p>
          <a:p>
            <a:pPr marL="171450" indent="-171450">
              <a:buFont typeface="Wingdings" panose="05000000000000000000" pitchFamily="2" charset="2"/>
              <a:buChar char="Ø"/>
            </a:pPr>
            <a:endParaRPr lang="sk-SK" dirty="0"/>
          </a:p>
          <a:p>
            <a:pPr marL="171450" indent="-171450">
              <a:buFont typeface="Wingdings" panose="05000000000000000000" pitchFamily="2" charset="2"/>
              <a:buChar char="Ø"/>
            </a:pPr>
            <a:endParaRPr lang="sk-SK" dirty="0"/>
          </a:p>
        </p:txBody>
      </p:sp>
      <p:sp>
        <p:nvSpPr>
          <p:cNvPr id="19" name="Textplatzhalter 18"/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sk-SK" dirty="0"/>
              <a:t>Podpora slovenskej produkcie Ovocia a zeleniny  </a:t>
            </a:r>
          </a:p>
        </p:txBody>
      </p:sp>
      <p:sp>
        <p:nvSpPr>
          <p:cNvPr id="25" name="Title 24"/>
          <p:cNvSpPr>
            <a:spLocks noGrp="1"/>
          </p:cNvSpPr>
          <p:nvPr>
            <p:ph type="title"/>
          </p:nvPr>
        </p:nvSpPr>
        <p:spPr>
          <a:xfrm>
            <a:off x="395288" y="555526"/>
            <a:ext cx="8350079" cy="486576"/>
          </a:xfrm>
        </p:spPr>
        <p:txBody>
          <a:bodyPr/>
          <a:lstStyle/>
          <a:p>
            <a:r>
              <a:rPr lang="sk-SK" dirty="0"/>
              <a:t>Spolupráca ZZZS</a:t>
            </a:r>
          </a:p>
        </p:txBody>
      </p:sp>
      <p:sp>
        <p:nvSpPr>
          <p:cNvPr id="20" name="Textplatzhalter 19"/>
          <p:cNvSpPr>
            <a:spLocks noGrp="1"/>
          </p:cNvSpPr>
          <p:nvPr>
            <p:ph type="body" sz="quarter" idx="28"/>
          </p:nvPr>
        </p:nvSpPr>
        <p:spPr/>
        <p:txBody>
          <a:bodyPr/>
          <a:lstStyle/>
          <a:p>
            <a:endParaRPr lang="sk-SK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fld id="{DC08F02C-4A46-4BB6-AA8E-1587D6BC6FFA}" type="datetime1">
              <a:rPr lang="sk-SK" smtClean="0"/>
              <a:t>30. 11. 2020</a:t>
            </a:fld>
            <a:endParaRPr lang="sk-SK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r>
              <a:rPr lang="sk-SK" noProof="0"/>
              <a:t>Päta</a:t>
            </a:r>
            <a:endParaRPr lang="sk-SK" noProof="0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r>
              <a:rPr lang="sk-SK" noProof="0">
                <a:sym typeface="Wingdings"/>
              </a:rPr>
              <a:t>  </a:t>
            </a:r>
            <a:fld id="{443B15C8-972D-49F6-9B7C-5A2154A8C95F}" type="slidenum">
              <a:rPr lang="sk-SK" noProof="0" smtClean="0"/>
              <a:pPr/>
              <a:t>17</a:t>
            </a:fld>
            <a:endParaRPr lang="sk-SK" noProof="0" dirty="0"/>
          </a:p>
        </p:txBody>
      </p:sp>
    </p:spTree>
    <p:extLst>
      <p:ext uri="{BB962C8B-B14F-4D97-AF65-F5344CB8AC3E}">
        <p14:creationId xmlns:p14="http://schemas.microsoft.com/office/powerpoint/2010/main" val="4101824842"/>
      </p:ext>
    </p:extLst>
  </p:cSld>
  <p:clrMapOvr>
    <a:masterClrMapping/>
  </p:clrMapOvr>
  <p:transition>
    <p:fade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Obrázok 10">
            <a:extLst>
              <a:ext uri="{FF2B5EF4-FFF2-40B4-BE49-F238E27FC236}">
                <a16:creationId xmlns:a16="http://schemas.microsoft.com/office/drawing/2014/main" id="{7391FC67-DDC9-4426-A1AE-E50BA8DF609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65536" y="902647"/>
            <a:ext cx="4198238" cy="3478540"/>
          </a:xfrm>
          <a:prstGeom prst="rect">
            <a:avLst/>
          </a:prstGeom>
        </p:spPr>
      </p:pic>
      <p:sp>
        <p:nvSpPr>
          <p:cNvPr id="3" name="Zástupný text 2">
            <a:extLst>
              <a:ext uri="{FF2B5EF4-FFF2-40B4-BE49-F238E27FC236}">
                <a16:creationId xmlns:a16="http://schemas.microsoft.com/office/drawing/2014/main" id="{A02A070F-1C3B-4F6D-8072-F02A36A0414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sk-SK"/>
              <a:t>Podpora slovenskej produkcie Ovocia a zeleniny  </a:t>
            </a:r>
            <a:endParaRPr lang="sk-SK" dirty="0"/>
          </a:p>
        </p:txBody>
      </p:sp>
      <p:sp>
        <p:nvSpPr>
          <p:cNvPr id="4" name="Nadpis 3">
            <a:extLst>
              <a:ext uri="{FF2B5EF4-FFF2-40B4-BE49-F238E27FC236}">
                <a16:creationId xmlns:a16="http://schemas.microsoft.com/office/drawing/2014/main" id="{90E15C5E-AF88-4098-86DB-C1AC704FC5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288" y="483518"/>
            <a:ext cx="8350079" cy="558584"/>
          </a:xfrm>
        </p:spPr>
        <p:txBody>
          <a:bodyPr/>
          <a:lstStyle/>
          <a:p>
            <a:r>
              <a:rPr lang="sk-SK" dirty="0"/>
              <a:t>Spolupráca ZZZS</a:t>
            </a:r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1B0F47D8-3D2C-46B0-A400-FACC8A00092D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/>
        <p:txBody>
          <a:bodyPr/>
          <a:lstStyle/>
          <a:p>
            <a:endParaRPr lang="sk-SK"/>
          </a:p>
        </p:txBody>
      </p:sp>
      <p:sp>
        <p:nvSpPr>
          <p:cNvPr id="6" name="Zástupný objekt pre dátum 5">
            <a:extLst>
              <a:ext uri="{FF2B5EF4-FFF2-40B4-BE49-F238E27FC236}">
                <a16:creationId xmlns:a16="http://schemas.microsoft.com/office/drawing/2014/main" id="{C72B8A05-5FB1-49A9-96B8-E4A1D336C33C}"/>
              </a:ext>
            </a:extLst>
          </p:cNvPr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fld id="{ABCC69BF-0892-4274-AFBF-9E0943657B84}" type="datetime1">
              <a:rPr lang="sk-SK" smtClean="0"/>
              <a:t>30. 11. 2020</a:t>
            </a:fld>
            <a:endParaRPr lang="sk-SK" dirty="0"/>
          </a:p>
        </p:txBody>
      </p:sp>
      <p:sp>
        <p:nvSpPr>
          <p:cNvPr id="7" name="Zástupný objekt pre pätu 6">
            <a:extLst>
              <a:ext uri="{FF2B5EF4-FFF2-40B4-BE49-F238E27FC236}">
                <a16:creationId xmlns:a16="http://schemas.microsoft.com/office/drawing/2014/main" id="{4B61B001-9BAB-4FF4-BF37-BAC2E6EB6120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r>
              <a:rPr lang="sk-SK" noProof="0"/>
              <a:t>Päta</a:t>
            </a:r>
            <a:endParaRPr lang="sk-SK" noProof="0" dirty="0"/>
          </a:p>
        </p:txBody>
      </p:sp>
      <p:sp>
        <p:nvSpPr>
          <p:cNvPr id="8" name="Zástupný objekt pre číslo snímky 7">
            <a:extLst>
              <a:ext uri="{FF2B5EF4-FFF2-40B4-BE49-F238E27FC236}">
                <a16:creationId xmlns:a16="http://schemas.microsoft.com/office/drawing/2014/main" id="{7D421F0C-90D6-4E5F-AD26-8E52849CB69D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r>
              <a:rPr lang="sk-SK" noProof="0">
                <a:sym typeface="Wingdings"/>
              </a:rPr>
              <a:t>  </a:t>
            </a:r>
            <a:fld id="{443B15C8-972D-49F6-9B7C-5A2154A8C95F}" type="slidenum">
              <a:rPr lang="sk-SK" noProof="0" smtClean="0"/>
              <a:pPr/>
              <a:t>18</a:t>
            </a:fld>
            <a:endParaRPr lang="sk-SK" noProof="0" dirty="0"/>
          </a:p>
        </p:txBody>
      </p:sp>
      <p:pic>
        <p:nvPicPr>
          <p:cNvPr id="12" name="Obrázok 11">
            <a:extLst>
              <a:ext uri="{FF2B5EF4-FFF2-40B4-BE49-F238E27FC236}">
                <a16:creationId xmlns:a16="http://schemas.microsoft.com/office/drawing/2014/main" id="{116FC9A1-E535-49FF-8F57-85475F79CE0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24635" y="1889640"/>
            <a:ext cx="4005378" cy="30825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520754"/>
      </p:ext>
    </p:extLst>
  </p:cSld>
  <p:clrMapOvr>
    <a:masterClrMapping/>
  </p:clrMapOvr>
  <p:transition>
    <p:fade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text 1">
            <a:extLst>
              <a:ext uri="{FF2B5EF4-FFF2-40B4-BE49-F238E27FC236}">
                <a16:creationId xmlns:a16="http://schemas.microsoft.com/office/drawing/2014/main" id="{65651E25-8BD8-4872-AF61-C8F1343E0FC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171450" indent="-171450">
              <a:buFont typeface="Wingdings" panose="05000000000000000000" pitchFamily="2" charset="2"/>
              <a:buChar char="Ø"/>
            </a:pPr>
            <a:r>
              <a:rPr lang="sk-SK" dirty="0"/>
              <a:t>V rámci spolupráce upozorňujeme na slovenských dodávateľov</a:t>
            </a:r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sk-SK" dirty="0"/>
              <a:t>Každý mesiac vychádza článok na nami zvolenú tému</a:t>
            </a:r>
          </a:p>
          <a:p>
            <a:endParaRPr lang="sk-SK" dirty="0"/>
          </a:p>
          <a:p>
            <a:pPr marL="171450" indent="-171450">
              <a:buFont typeface="Wingdings" panose="05000000000000000000" pitchFamily="2" charset="2"/>
              <a:buChar char="Ø"/>
            </a:pPr>
            <a:endParaRPr lang="sk-SK" dirty="0"/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882B8703-A8BB-4615-A3D6-D151BC64F2D6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sk-SK" dirty="0"/>
              <a:t>Podpora slovenských dodávateľov </a:t>
            </a:r>
          </a:p>
        </p:txBody>
      </p:sp>
      <p:sp>
        <p:nvSpPr>
          <p:cNvPr id="4" name="Nadpis 3">
            <a:extLst>
              <a:ext uri="{FF2B5EF4-FFF2-40B4-BE49-F238E27FC236}">
                <a16:creationId xmlns:a16="http://schemas.microsoft.com/office/drawing/2014/main" id="{AA4BBA77-8BF2-481A-A8C8-D13EF635F5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288" y="555526"/>
            <a:ext cx="8350079" cy="486576"/>
          </a:xfrm>
        </p:spPr>
        <p:txBody>
          <a:bodyPr/>
          <a:lstStyle/>
          <a:p>
            <a:r>
              <a:rPr lang="sk-SK" dirty="0"/>
              <a:t>Sme čerství </a:t>
            </a:r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F57AB03B-F86D-421A-B77D-14CEDDB80828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/>
        <p:txBody>
          <a:bodyPr/>
          <a:lstStyle/>
          <a:p>
            <a:endParaRPr lang="sk-SK"/>
          </a:p>
        </p:txBody>
      </p:sp>
      <p:sp>
        <p:nvSpPr>
          <p:cNvPr id="6" name="Zástupný objekt pre dátum 5">
            <a:extLst>
              <a:ext uri="{FF2B5EF4-FFF2-40B4-BE49-F238E27FC236}">
                <a16:creationId xmlns:a16="http://schemas.microsoft.com/office/drawing/2014/main" id="{4F712130-6694-4D50-92A7-7B1E59D83C9C}"/>
              </a:ext>
            </a:extLst>
          </p:cNvPr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fld id="{ABCC69BF-0892-4274-AFBF-9E0943657B84}" type="datetime1">
              <a:rPr lang="sk-SK" smtClean="0"/>
              <a:t>30. 11. 2020</a:t>
            </a:fld>
            <a:endParaRPr lang="sk-SK" dirty="0"/>
          </a:p>
        </p:txBody>
      </p:sp>
      <p:sp>
        <p:nvSpPr>
          <p:cNvPr id="7" name="Zástupný objekt pre pätu 6">
            <a:extLst>
              <a:ext uri="{FF2B5EF4-FFF2-40B4-BE49-F238E27FC236}">
                <a16:creationId xmlns:a16="http://schemas.microsoft.com/office/drawing/2014/main" id="{40053241-8DEF-430E-A5B4-8D2081E73121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r>
              <a:rPr lang="sk-SK" noProof="0"/>
              <a:t>Päta</a:t>
            </a:r>
            <a:endParaRPr lang="sk-SK" noProof="0" dirty="0"/>
          </a:p>
        </p:txBody>
      </p:sp>
      <p:sp>
        <p:nvSpPr>
          <p:cNvPr id="8" name="Zástupný objekt pre číslo snímky 7">
            <a:extLst>
              <a:ext uri="{FF2B5EF4-FFF2-40B4-BE49-F238E27FC236}">
                <a16:creationId xmlns:a16="http://schemas.microsoft.com/office/drawing/2014/main" id="{97197A61-683C-4657-92F7-0CA5367EC2AA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r>
              <a:rPr lang="sk-SK" noProof="0">
                <a:sym typeface="Wingdings"/>
              </a:rPr>
              <a:t>  </a:t>
            </a:r>
            <a:fld id="{443B15C8-972D-49F6-9B7C-5A2154A8C95F}" type="slidenum">
              <a:rPr lang="sk-SK" noProof="0" smtClean="0"/>
              <a:pPr/>
              <a:t>19</a:t>
            </a:fld>
            <a:endParaRPr lang="sk-SK" noProof="0" dirty="0"/>
          </a:p>
        </p:txBody>
      </p:sp>
      <p:pic>
        <p:nvPicPr>
          <p:cNvPr id="9" name="Obrázok 8">
            <a:extLst>
              <a:ext uri="{FF2B5EF4-FFF2-40B4-BE49-F238E27FC236}">
                <a16:creationId xmlns:a16="http://schemas.microsoft.com/office/drawing/2014/main" id="{614F3D1C-9A78-4F65-AB70-0A37910DE88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006" y="1933438"/>
            <a:ext cx="4966518" cy="2365723"/>
          </a:xfrm>
          <a:prstGeom prst="rect">
            <a:avLst/>
          </a:prstGeom>
        </p:spPr>
      </p:pic>
      <p:pic>
        <p:nvPicPr>
          <p:cNvPr id="10" name="Obrázok 9">
            <a:extLst>
              <a:ext uri="{FF2B5EF4-FFF2-40B4-BE49-F238E27FC236}">
                <a16:creationId xmlns:a16="http://schemas.microsoft.com/office/drawing/2014/main" id="{0C9DEA8F-64F8-4CB0-BA2F-BF89E339D14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963076" y="1966974"/>
            <a:ext cx="4117918" cy="30052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3702083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sk-SK" dirty="0"/>
              <a:t>01</a:t>
            </a:r>
          </a:p>
        </p:txBody>
      </p:sp>
      <p:sp>
        <p:nvSpPr>
          <p:cNvPr id="24" name="Text Placeholder 2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sk-SK" dirty="0"/>
              <a:t>02</a:t>
            </a:r>
          </a:p>
        </p:txBody>
      </p:sp>
      <p:sp>
        <p:nvSpPr>
          <p:cNvPr id="25" name="Text Placeholder 24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sk-SK" dirty="0"/>
              <a:t>03</a:t>
            </a:r>
          </a:p>
        </p:txBody>
      </p:sp>
      <p:sp>
        <p:nvSpPr>
          <p:cNvPr id="26" name="Text Placeholder 25"/>
          <p:cNvSpPr>
            <a:spLocks noGrp="1"/>
          </p:cNvSpPr>
          <p:nvPr>
            <p:ph type="body" sz="quarter" idx="13"/>
          </p:nvPr>
        </p:nvSpPr>
        <p:spPr>
          <a:xfrm>
            <a:off x="3077988" y="2876098"/>
            <a:ext cx="378000" cy="454080"/>
          </a:xfrm>
        </p:spPr>
        <p:txBody>
          <a:bodyPr/>
          <a:lstStyle/>
          <a:p>
            <a:r>
              <a:rPr lang="sk-SK" dirty="0"/>
              <a:t>04</a:t>
            </a:r>
          </a:p>
        </p:txBody>
      </p:sp>
      <p:sp>
        <p:nvSpPr>
          <p:cNvPr id="33" name="Text Placeholder 32"/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sk-SK" dirty="0"/>
              <a:t>Podiel slovenskej produkcie v Kauflande</a:t>
            </a:r>
          </a:p>
        </p:txBody>
      </p:sp>
      <p:sp>
        <p:nvSpPr>
          <p:cNvPr id="34" name="Text Placeholder 33"/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sk-SK" dirty="0"/>
              <a:t>Spolupráca so slovenskými pestovateľmi </a:t>
            </a:r>
          </a:p>
        </p:txBody>
      </p:sp>
      <p:sp>
        <p:nvSpPr>
          <p:cNvPr id="35" name="Text Placeholder 34"/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sk-SK" dirty="0"/>
              <a:t>Formy komunikácie slovenských výrobkov</a:t>
            </a:r>
          </a:p>
        </p:txBody>
      </p:sp>
      <p:sp>
        <p:nvSpPr>
          <p:cNvPr id="36" name="Text Placeholder 35"/>
          <p:cNvSpPr>
            <a:spLocks noGrp="1"/>
          </p:cNvSpPr>
          <p:nvPr>
            <p:ph type="body" sz="quarter" idx="23"/>
          </p:nvPr>
        </p:nvSpPr>
        <p:spPr>
          <a:xfrm>
            <a:off x="3600450" y="2909758"/>
            <a:ext cx="1943100" cy="377206"/>
          </a:xfrm>
        </p:spPr>
        <p:txBody>
          <a:bodyPr/>
          <a:lstStyle/>
          <a:p>
            <a:r>
              <a:rPr lang="sk-SK" dirty="0"/>
              <a:t>Ponuka spolupráce a možnosti zvyšovania predaja SK výrobkov</a:t>
            </a:r>
          </a:p>
        </p:txBody>
      </p:sp>
      <p:sp>
        <p:nvSpPr>
          <p:cNvPr id="27" name="Titel 26"/>
          <p:cNvSpPr>
            <a:spLocks noGrp="1"/>
          </p:cNvSpPr>
          <p:nvPr>
            <p:ph type="title"/>
          </p:nvPr>
        </p:nvSpPr>
        <p:spPr>
          <a:xfrm>
            <a:off x="539552" y="987574"/>
            <a:ext cx="2016323" cy="2480797"/>
          </a:xfrm>
        </p:spPr>
        <p:txBody>
          <a:bodyPr/>
          <a:lstStyle/>
          <a:p>
            <a:r>
              <a:rPr lang="sk-SK" dirty="0"/>
              <a:t>Agenda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30"/>
          </p:nvPr>
        </p:nvSpPr>
        <p:spPr/>
        <p:txBody>
          <a:bodyPr/>
          <a:lstStyle/>
          <a:p>
            <a:fld id="{AB6B0528-65B7-4D25-B5F0-A382A33058AA}" type="datetime1">
              <a:rPr lang="sk-SK" noProof="0" smtClean="0"/>
              <a:t>30. 11. 2020</a:t>
            </a:fld>
            <a:endParaRPr lang="sk-SK" noProof="0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31"/>
          </p:nvPr>
        </p:nvSpPr>
        <p:spPr/>
        <p:txBody>
          <a:bodyPr/>
          <a:lstStyle/>
          <a:p>
            <a:r>
              <a:rPr lang="sk-SK" noProof="0"/>
              <a:t>Päta</a:t>
            </a:r>
            <a:endParaRPr lang="sk-SK" noProof="0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32"/>
          </p:nvPr>
        </p:nvSpPr>
        <p:spPr/>
        <p:txBody>
          <a:bodyPr/>
          <a:lstStyle/>
          <a:p>
            <a:r>
              <a:rPr lang="sk-SK" noProof="0"/>
              <a:t> </a:t>
            </a:r>
            <a:r>
              <a:rPr lang="sk-SK" noProof="0">
                <a:sym typeface="Wingdings"/>
              </a:rPr>
              <a:t>  </a:t>
            </a:r>
            <a:fld id="{443B15C8-972D-49F6-9B7C-5A2154A8C95F}" type="slidenum">
              <a:rPr lang="sk-SK" noProof="0" smtClean="0"/>
              <a:pPr/>
              <a:t>2</a:t>
            </a:fld>
            <a:endParaRPr lang="sk-SK" noProof="0" dirty="0"/>
          </a:p>
        </p:txBody>
      </p:sp>
    </p:spTree>
    <p:extLst>
      <p:ext uri="{BB962C8B-B14F-4D97-AF65-F5344CB8AC3E}">
        <p14:creationId xmlns:p14="http://schemas.microsoft.com/office/powerpoint/2010/main" val="4264533223"/>
      </p:ext>
    </p:extLst>
  </p:cSld>
  <p:clrMapOvr>
    <a:masterClrMapping/>
  </p:clrMapOvr>
  <p:transition>
    <p:fade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BF05F0FD-8AC8-496A-9C7E-D6B30BA0B0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288" y="1527176"/>
            <a:ext cx="5148262" cy="2700758"/>
          </a:xfrm>
        </p:spPr>
        <p:txBody>
          <a:bodyPr/>
          <a:lstStyle/>
          <a:p>
            <a:r>
              <a:rPr lang="sk-SK" sz="3200" dirty="0"/>
              <a:t>Ponuka spolupráce</a:t>
            </a:r>
          </a:p>
        </p:txBody>
      </p:sp>
      <p:sp>
        <p:nvSpPr>
          <p:cNvPr id="3" name="Zástupný objekt pre dátum 2">
            <a:extLst>
              <a:ext uri="{FF2B5EF4-FFF2-40B4-BE49-F238E27FC236}">
                <a16:creationId xmlns:a16="http://schemas.microsoft.com/office/drawing/2014/main" id="{D75AAAD9-FA90-4D17-B619-DD5B286EB73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3FD2E6-F7D4-4478-8337-A7477641E402}" type="datetime1">
              <a:rPr lang="sk-SK" noProof="0" smtClean="0"/>
              <a:t>30. 11. 2020</a:t>
            </a:fld>
            <a:endParaRPr lang="sk-SK" noProof="0" dirty="0"/>
          </a:p>
        </p:txBody>
      </p:sp>
      <p:sp>
        <p:nvSpPr>
          <p:cNvPr id="4" name="Zástupný objekt pre pätu 3">
            <a:extLst>
              <a:ext uri="{FF2B5EF4-FFF2-40B4-BE49-F238E27FC236}">
                <a16:creationId xmlns:a16="http://schemas.microsoft.com/office/drawing/2014/main" id="{37A288AC-9204-4202-82CC-DD9AC2BE328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k-SK" noProof="0"/>
              <a:t>Päta</a:t>
            </a:r>
            <a:endParaRPr lang="sk-SK" noProof="0" dirty="0"/>
          </a:p>
        </p:txBody>
      </p:sp>
      <p:sp>
        <p:nvSpPr>
          <p:cNvPr id="5" name="Zástupný objekt pre číslo snímky 4">
            <a:extLst>
              <a:ext uri="{FF2B5EF4-FFF2-40B4-BE49-F238E27FC236}">
                <a16:creationId xmlns:a16="http://schemas.microsoft.com/office/drawing/2014/main" id="{13FE1CEF-67B4-4269-A4B0-82C4F7BA76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sk-SK" noProof="0"/>
              <a:t> </a:t>
            </a:r>
            <a:r>
              <a:rPr lang="sk-SK" noProof="0">
                <a:sym typeface="Wingdings"/>
              </a:rPr>
              <a:t>  </a:t>
            </a:r>
            <a:fld id="{443B15C8-972D-49F6-9B7C-5A2154A8C95F}" type="slidenum">
              <a:rPr lang="sk-SK" noProof="0" smtClean="0"/>
              <a:pPr/>
              <a:t>20</a:t>
            </a:fld>
            <a:endParaRPr lang="sk-SK" noProof="0" dirty="0"/>
          </a:p>
        </p:txBody>
      </p:sp>
    </p:spTree>
    <p:extLst>
      <p:ext uri="{BB962C8B-B14F-4D97-AF65-F5344CB8AC3E}">
        <p14:creationId xmlns:p14="http://schemas.microsoft.com/office/powerpoint/2010/main" val="2722903396"/>
      </p:ext>
    </p:extLst>
  </p:cSld>
  <p:clrMapOvr>
    <a:masterClrMapping/>
  </p:clrMapOvr>
  <p:transition>
    <p:fade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text 1">
            <a:extLst>
              <a:ext uri="{FF2B5EF4-FFF2-40B4-BE49-F238E27FC236}">
                <a16:creationId xmlns:a16="http://schemas.microsoft.com/office/drawing/2014/main" id="{C0CC0D26-6DA6-4F33-A73F-8C9E508B666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95289" y="1042103"/>
            <a:ext cx="8353424" cy="3545872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sk-SK" dirty="0"/>
              <a:t>Pestovanie aj technologicky náročnejších plodín (reďkvičky, karfiol, brokolica, zväzková zelenina, sladké zemiaky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sk-SK" dirty="0"/>
              <a:t>Pestovanie nových druhov (šaláty, špenát, rukola, pór, bylinky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sk-SK" dirty="0"/>
              <a:t>Výber vhodného postupu (uhorky poľné a paprika – fóliovník, drobné ovocie v skleníku), moderné technologické postupy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sk-SK" dirty="0"/>
              <a:t>Výber vhodných odrôd, rozširovanie plôch na pestovani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sk-SK" dirty="0"/>
              <a:t>Zväčšovanie kapacít na uskladnenie, hľadanie možností dlhšieho uskladňovania plodí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sk-SK" dirty="0"/>
          </a:p>
          <a:p>
            <a:endParaRPr lang="sk-SK" dirty="0"/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D43BEDF2-8147-492A-92E5-0EC5C5530992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sk-SK" dirty="0"/>
              <a:t>KAUFLAND NA SLOVENSKU</a:t>
            </a:r>
          </a:p>
        </p:txBody>
      </p:sp>
      <p:sp>
        <p:nvSpPr>
          <p:cNvPr id="4" name="Nadpis 3">
            <a:extLst>
              <a:ext uri="{FF2B5EF4-FFF2-40B4-BE49-F238E27FC236}">
                <a16:creationId xmlns:a16="http://schemas.microsoft.com/office/drawing/2014/main" id="{F9FC71DB-D6C0-4A47-86F9-D7437A9A8E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288" y="555526"/>
            <a:ext cx="8350079" cy="486576"/>
          </a:xfrm>
        </p:spPr>
        <p:txBody>
          <a:bodyPr/>
          <a:lstStyle/>
          <a:p>
            <a:r>
              <a:rPr lang="sk-SK" dirty="0"/>
              <a:t>Ponuka spolupráce a možnosti zvyšovania predaja SK výrobkov</a:t>
            </a:r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7BDDF34C-4F4B-4681-B922-EB3F2D62C84E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/>
        <p:txBody>
          <a:bodyPr/>
          <a:lstStyle/>
          <a:p>
            <a:endParaRPr lang="sk-SK"/>
          </a:p>
        </p:txBody>
      </p:sp>
      <p:sp>
        <p:nvSpPr>
          <p:cNvPr id="6" name="Zástupný objekt pre dátum 5">
            <a:extLst>
              <a:ext uri="{FF2B5EF4-FFF2-40B4-BE49-F238E27FC236}">
                <a16:creationId xmlns:a16="http://schemas.microsoft.com/office/drawing/2014/main" id="{4CBECE88-0A7D-473D-BC49-B73757759436}"/>
              </a:ext>
            </a:extLst>
          </p:cNvPr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fld id="{ABCC69BF-0892-4274-AFBF-9E0943657B84}" type="datetime1">
              <a:rPr lang="sk-SK" smtClean="0"/>
              <a:t>30. 11. 2020</a:t>
            </a:fld>
            <a:endParaRPr lang="sk-SK" dirty="0"/>
          </a:p>
        </p:txBody>
      </p:sp>
      <p:sp>
        <p:nvSpPr>
          <p:cNvPr id="7" name="Zástupný objekt pre pätu 6">
            <a:extLst>
              <a:ext uri="{FF2B5EF4-FFF2-40B4-BE49-F238E27FC236}">
                <a16:creationId xmlns:a16="http://schemas.microsoft.com/office/drawing/2014/main" id="{F2C15591-BB22-43F7-BEF3-BF1AB8CEDD46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r>
              <a:rPr lang="sk-SK" noProof="0"/>
              <a:t>Päta</a:t>
            </a:r>
            <a:endParaRPr lang="sk-SK" noProof="0" dirty="0"/>
          </a:p>
        </p:txBody>
      </p:sp>
      <p:sp>
        <p:nvSpPr>
          <p:cNvPr id="8" name="Zástupný objekt pre číslo snímky 7">
            <a:extLst>
              <a:ext uri="{FF2B5EF4-FFF2-40B4-BE49-F238E27FC236}">
                <a16:creationId xmlns:a16="http://schemas.microsoft.com/office/drawing/2014/main" id="{1FB78D9F-3200-4831-AC2B-7F1BAB0C82D4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r>
              <a:rPr lang="sk-SK" noProof="0">
                <a:sym typeface="Wingdings"/>
              </a:rPr>
              <a:t>  </a:t>
            </a:r>
            <a:fld id="{443B15C8-972D-49F6-9B7C-5A2154A8C95F}" type="slidenum">
              <a:rPr lang="sk-SK" noProof="0" smtClean="0"/>
              <a:pPr/>
              <a:t>21</a:t>
            </a:fld>
            <a:endParaRPr lang="sk-SK" noProof="0" dirty="0"/>
          </a:p>
        </p:txBody>
      </p:sp>
      <p:pic>
        <p:nvPicPr>
          <p:cNvPr id="11" name="Obrázok 10">
            <a:extLst>
              <a:ext uri="{FF2B5EF4-FFF2-40B4-BE49-F238E27FC236}">
                <a16:creationId xmlns:a16="http://schemas.microsoft.com/office/drawing/2014/main" id="{64846F8F-8296-47F2-BF80-011988D046D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95052" y="2612335"/>
            <a:ext cx="2905530" cy="1609950"/>
          </a:xfrm>
          <a:prstGeom prst="rect">
            <a:avLst/>
          </a:prstGeom>
        </p:spPr>
      </p:pic>
      <p:pic>
        <p:nvPicPr>
          <p:cNvPr id="12" name="Obrázok 11">
            <a:extLst>
              <a:ext uri="{FF2B5EF4-FFF2-40B4-BE49-F238E27FC236}">
                <a16:creationId xmlns:a16="http://schemas.microsoft.com/office/drawing/2014/main" id="{CD0CFCE9-A733-4249-A910-FC48C434966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2406" y="2608416"/>
            <a:ext cx="2905530" cy="17147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9590369"/>
      </p:ext>
    </p:extLst>
  </p:cSld>
  <p:clrMapOvr>
    <a:masterClrMapping/>
  </p:clrMapOvr>
  <p:transition>
    <p:fade/>
  </p:transition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07850560-58A5-415C-B7FC-E80F2144D6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k-SK" sz="2400" dirty="0"/>
              <a:t>Ďakujeme za pozornosť a tešíme sa na vzájomnú spoluprácu pri zvyšovaní sebestačnosti Slovenska v oblasti ovocia a zeleniny</a:t>
            </a:r>
          </a:p>
        </p:txBody>
      </p:sp>
      <p:sp>
        <p:nvSpPr>
          <p:cNvPr id="3" name="Zástupný objekt pre dátum 2">
            <a:extLst>
              <a:ext uri="{FF2B5EF4-FFF2-40B4-BE49-F238E27FC236}">
                <a16:creationId xmlns:a16="http://schemas.microsoft.com/office/drawing/2014/main" id="{B6691C4D-EB65-4F4A-90AD-7D09F493F4B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3FD2E6-F7D4-4478-8337-A7477641E402}" type="datetime1">
              <a:rPr lang="sk-SK" noProof="0" smtClean="0"/>
              <a:t>30. 11. 2020</a:t>
            </a:fld>
            <a:endParaRPr lang="sk-SK" noProof="0" dirty="0"/>
          </a:p>
        </p:txBody>
      </p:sp>
      <p:sp>
        <p:nvSpPr>
          <p:cNvPr id="4" name="Zástupný objekt pre pätu 3">
            <a:extLst>
              <a:ext uri="{FF2B5EF4-FFF2-40B4-BE49-F238E27FC236}">
                <a16:creationId xmlns:a16="http://schemas.microsoft.com/office/drawing/2014/main" id="{000DD611-CF07-4DFF-9DC5-09BF717873F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k-SK" noProof="0"/>
              <a:t>Päta</a:t>
            </a:r>
            <a:endParaRPr lang="sk-SK" noProof="0" dirty="0"/>
          </a:p>
        </p:txBody>
      </p:sp>
      <p:sp>
        <p:nvSpPr>
          <p:cNvPr id="5" name="Zástupný objekt pre číslo snímky 4">
            <a:extLst>
              <a:ext uri="{FF2B5EF4-FFF2-40B4-BE49-F238E27FC236}">
                <a16:creationId xmlns:a16="http://schemas.microsoft.com/office/drawing/2014/main" id="{5718AABE-DE7E-490B-8A79-6E84161238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sk-SK" noProof="0"/>
              <a:t> </a:t>
            </a:r>
            <a:r>
              <a:rPr lang="sk-SK" noProof="0">
                <a:sym typeface="Wingdings"/>
              </a:rPr>
              <a:t>  </a:t>
            </a:r>
            <a:fld id="{443B15C8-972D-49F6-9B7C-5A2154A8C95F}" type="slidenum">
              <a:rPr lang="sk-SK" noProof="0" smtClean="0"/>
              <a:pPr/>
              <a:t>22</a:t>
            </a:fld>
            <a:endParaRPr lang="sk-SK" noProof="0" dirty="0"/>
          </a:p>
        </p:txBody>
      </p:sp>
    </p:spTree>
    <p:extLst>
      <p:ext uri="{BB962C8B-B14F-4D97-AF65-F5344CB8AC3E}">
        <p14:creationId xmlns:p14="http://schemas.microsoft.com/office/powerpoint/2010/main" val="2681143281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text 1">
            <a:extLst>
              <a:ext uri="{FF2B5EF4-FFF2-40B4-BE49-F238E27FC236}">
                <a16:creationId xmlns:a16="http://schemas.microsoft.com/office/drawing/2014/main" id="{B651A2F8-0432-4337-B07B-7379A8E18AE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sk-SK" b="1" dirty="0" err="1"/>
              <a:t>II.polrok</a:t>
            </a:r>
            <a:r>
              <a:rPr lang="sk-SK" b="1" dirty="0"/>
              <a:t> 2019</a:t>
            </a:r>
            <a:endParaRPr lang="sk-SK" dirty="0"/>
          </a:p>
          <a:p>
            <a:pPr marL="171450" indent="-171450">
              <a:buFontTx/>
              <a:buChar char="-"/>
            </a:pPr>
            <a:r>
              <a:rPr lang="sk-SK" dirty="0"/>
              <a:t>Ovocie 	16%</a:t>
            </a:r>
          </a:p>
          <a:p>
            <a:pPr marL="171450" indent="-171450">
              <a:buFontTx/>
              <a:buChar char="-"/>
            </a:pPr>
            <a:r>
              <a:rPr lang="sk-SK" dirty="0"/>
              <a:t>Zelenina 	64%</a:t>
            </a:r>
          </a:p>
          <a:p>
            <a:pPr marL="171450" indent="-171450">
              <a:buFontTx/>
              <a:buChar char="-"/>
            </a:pPr>
            <a:r>
              <a:rPr lang="sk-SK" dirty="0"/>
              <a:t>Zemiaky 	86%</a:t>
            </a:r>
          </a:p>
          <a:p>
            <a:r>
              <a:rPr lang="sk-SK" dirty="0"/>
              <a:t>    </a:t>
            </a:r>
            <a:r>
              <a:rPr lang="sk-SK" dirty="0">
                <a:solidFill>
                  <a:srgbClr val="0070C0"/>
                </a:solidFill>
              </a:rPr>
              <a:t>Spolu SK	53%</a:t>
            </a:r>
          </a:p>
          <a:p>
            <a:endParaRPr lang="sk-SK" dirty="0"/>
          </a:p>
          <a:p>
            <a:r>
              <a:rPr lang="sk-SK" b="1" dirty="0" err="1"/>
              <a:t>I.polrok</a:t>
            </a:r>
            <a:r>
              <a:rPr lang="sk-SK" b="1" dirty="0"/>
              <a:t> 2020</a:t>
            </a:r>
          </a:p>
          <a:p>
            <a:pPr marL="171450" indent="-171450">
              <a:buFontTx/>
              <a:buChar char="-"/>
            </a:pPr>
            <a:r>
              <a:rPr lang="sk-SK" dirty="0"/>
              <a:t>Ovocie 	7%</a:t>
            </a:r>
          </a:p>
          <a:p>
            <a:pPr marL="171450" indent="-171450">
              <a:buFontTx/>
              <a:buChar char="-"/>
            </a:pPr>
            <a:r>
              <a:rPr lang="sk-SK" dirty="0"/>
              <a:t>Zelenina 	53%</a:t>
            </a:r>
          </a:p>
          <a:p>
            <a:pPr marL="171450" indent="-171450">
              <a:buFontTx/>
              <a:buChar char="-"/>
            </a:pPr>
            <a:r>
              <a:rPr lang="sk-SK" dirty="0"/>
              <a:t>Zemiaky 	55%</a:t>
            </a:r>
          </a:p>
          <a:p>
            <a:r>
              <a:rPr lang="sk-SK" dirty="0"/>
              <a:t>    </a:t>
            </a:r>
            <a:r>
              <a:rPr lang="sk-SK" dirty="0">
                <a:solidFill>
                  <a:srgbClr val="0070C0"/>
                </a:solidFill>
              </a:rPr>
              <a:t>Spolu SK	40%</a:t>
            </a:r>
          </a:p>
        </p:txBody>
      </p:sp>
      <p:sp>
        <p:nvSpPr>
          <p:cNvPr id="4" name="Nadpis 3">
            <a:extLst>
              <a:ext uri="{FF2B5EF4-FFF2-40B4-BE49-F238E27FC236}">
                <a16:creationId xmlns:a16="http://schemas.microsoft.com/office/drawing/2014/main" id="{0A4D8023-71C9-4C4E-A4AF-E4EC2E01DC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288" y="555526"/>
            <a:ext cx="8350079" cy="486576"/>
          </a:xfrm>
        </p:spPr>
        <p:txBody>
          <a:bodyPr/>
          <a:lstStyle/>
          <a:p>
            <a:r>
              <a:rPr lang="sk-SK" dirty="0"/>
              <a:t>Podiel SK produkcie ovocia a zeleniny</a:t>
            </a:r>
            <a:br>
              <a:rPr lang="sk-SK" dirty="0"/>
            </a:br>
            <a:endParaRPr lang="sk-SK" dirty="0"/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E4DF2E96-81FB-4007-8CE6-239546CB6006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/>
        <p:txBody>
          <a:bodyPr/>
          <a:lstStyle/>
          <a:p>
            <a:endParaRPr lang="sk-SK"/>
          </a:p>
        </p:txBody>
      </p:sp>
      <p:sp>
        <p:nvSpPr>
          <p:cNvPr id="6" name="Zástupný objekt pre dátum 5">
            <a:extLst>
              <a:ext uri="{FF2B5EF4-FFF2-40B4-BE49-F238E27FC236}">
                <a16:creationId xmlns:a16="http://schemas.microsoft.com/office/drawing/2014/main" id="{CACCE288-2D69-411E-BAF5-F149F3CDD2AD}"/>
              </a:ext>
            </a:extLst>
          </p:cNvPr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fld id="{ABCC69BF-0892-4274-AFBF-9E0943657B84}" type="datetime1">
              <a:rPr lang="sk-SK" smtClean="0"/>
              <a:t>30. 11. 2020</a:t>
            </a:fld>
            <a:endParaRPr lang="sk-SK" dirty="0"/>
          </a:p>
        </p:txBody>
      </p:sp>
      <p:sp>
        <p:nvSpPr>
          <p:cNvPr id="7" name="Zástupný objekt pre pätu 6">
            <a:extLst>
              <a:ext uri="{FF2B5EF4-FFF2-40B4-BE49-F238E27FC236}">
                <a16:creationId xmlns:a16="http://schemas.microsoft.com/office/drawing/2014/main" id="{8F589B64-DD8A-47A7-9104-7DFAF083E5D4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r>
              <a:rPr lang="sk-SK" noProof="0"/>
              <a:t>Päta</a:t>
            </a:r>
            <a:endParaRPr lang="sk-SK" noProof="0" dirty="0"/>
          </a:p>
        </p:txBody>
      </p:sp>
      <p:sp>
        <p:nvSpPr>
          <p:cNvPr id="8" name="Zástupný objekt pre číslo snímky 7">
            <a:extLst>
              <a:ext uri="{FF2B5EF4-FFF2-40B4-BE49-F238E27FC236}">
                <a16:creationId xmlns:a16="http://schemas.microsoft.com/office/drawing/2014/main" id="{16C8F788-099D-4EB2-8122-88AD17D0D013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r>
              <a:rPr lang="sk-SK" noProof="0">
                <a:sym typeface="Wingdings"/>
              </a:rPr>
              <a:t>  </a:t>
            </a:r>
            <a:fld id="{443B15C8-972D-49F6-9B7C-5A2154A8C95F}" type="slidenum">
              <a:rPr lang="sk-SK" noProof="0" smtClean="0"/>
              <a:pPr/>
              <a:t>3</a:t>
            </a:fld>
            <a:endParaRPr lang="sk-SK" noProof="0" dirty="0"/>
          </a:p>
        </p:txBody>
      </p:sp>
      <p:sp>
        <p:nvSpPr>
          <p:cNvPr id="9" name="Textplatzhalter 18">
            <a:extLst>
              <a:ext uri="{FF2B5EF4-FFF2-40B4-BE49-F238E27FC236}">
                <a16:creationId xmlns:a16="http://schemas.microsoft.com/office/drawing/2014/main" id="{D6E1C629-D0BB-420C-B58D-9EBE42C1AD51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95288" y="268288"/>
            <a:ext cx="8350250" cy="179387"/>
          </a:xfrm>
        </p:spPr>
        <p:txBody>
          <a:bodyPr/>
          <a:lstStyle/>
          <a:p>
            <a:r>
              <a:rPr lang="sk-SK" dirty="0"/>
              <a:t>Kaufland na </a:t>
            </a:r>
            <a:r>
              <a:rPr lang="sk-SK" dirty="0" err="1"/>
              <a:t>slovensku</a:t>
            </a:r>
            <a:endParaRPr lang="sk-SK" dirty="0"/>
          </a:p>
        </p:txBody>
      </p:sp>
      <p:graphicFrame>
        <p:nvGraphicFramePr>
          <p:cNvPr id="10" name="Graf 9">
            <a:extLst>
              <a:ext uri="{FF2B5EF4-FFF2-40B4-BE49-F238E27FC236}">
                <a16:creationId xmlns:a16="http://schemas.microsoft.com/office/drawing/2014/main" id="{7C9EB274-EC67-46CE-81A8-A0282E77C94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448607086"/>
              </p:ext>
            </p:extLst>
          </p:nvPr>
        </p:nvGraphicFramePr>
        <p:xfrm>
          <a:off x="2555776" y="1275606"/>
          <a:ext cx="5616624" cy="30963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3564358731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F705B4AA-03FF-4D6A-8026-882C70C1CF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k-SK" sz="3200" dirty="0"/>
              <a:t>Spolupráca so slovenskými pestovateľmi</a:t>
            </a:r>
          </a:p>
        </p:txBody>
      </p:sp>
      <p:sp>
        <p:nvSpPr>
          <p:cNvPr id="3" name="Zástupný objekt pre dátum 2">
            <a:extLst>
              <a:ext uri="{FF2B5EF4-FFF2-40B4-BE49-F238E27FC236}">
                <a16:creationId xmlns:a16="http://schemas.microsoft.com/office/drawing/2014/main" id="{63FE8455-169E-42C7-B204-64D1061450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3FD2E6-F7D4-4478-8337-A7477641E402}" type="datetime1">
              <a:rPr lang="sk-SK" noProof="0" smtClean="0"/>
              <a:t>30. 11. 2020</a:t>
            </a:fld>
            <a:endParaRPr lang="sk-SK" noProof="0" dirty="0"/>
          </a:p>
        </p:txBody>
      </p:sp>
      <p:sp>
        <p:nvSpPr>
          <p:cNvPr id="4" name="Zástupný objekt pre pätu 3">
            <a:extLst>
              <a:ext uri="{FF2B5EF4-FFF2-40B4-BE49-F238E27FC236}">
                <a16:creationId xmlns:a16="http://schemas.microsoft.com/office/drawing/2014/main" id="{85879AFF-54A2-4FDC-B3AF-A85FE6B757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k-SK" noProof="0"/>
              <a:t>Päta</a:t>
            </a:r>
            <a:endParaRPr lang="sk-SK" noProof="0" dirty="0"/>
          </a:p>
        </p:txBody>
      </p:sp>
      <p:sp>
        <p:nvSpPr>
          <p:cNvPr id="5" name="Zástupný objekt pre číslo snímky 4">
            <a:extLst>
              <a:ext uri="{FF2B5EF4-FFF2-40B4-BE49-F238E27FC236}">
                <a16:creationId xmlns:a16="http://schemas.microsoft.com/office/drawing/2014/main" id="{C948188E-5340-428E-99D6-078DAC5DB61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sk-SK" noProof="0"/>
              <a:t> </a:t>
            </a:r>
            <a:r>
              <a:rPr lang="sk-SK" noProof="0">
                <a:sym typeface="Wingdings"/>
              </a:rPr>
              <a:t>  </a:t>
            </a:r>
            <a:fld id="{443B15C8-972D-49F6-9B7C-5A2154A8C95F}" type="slidenum">
              <a:rPr lang="sk-SK" noProof="0" smtClean="0"/>
              <a:pPr/>
              <a:t>4</a:t>
            </a:fld>
            <a:endParaRPr lang="sk-SK" noProof="0" dirty="0"/>
          </a:p>
        </p:txBody>
      </p:sp>
    </p:spTree>
    <p:extLst>
      <p:ext uri="{BB962C8B-B14F-4D97-AF65-F5344CB8AC3E}">
        <p14:creationId xmlns:p14="http://schemas.microsoft.com/office/powerpoint/2010/main" val="2996300426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text 1">
            <a:extLst>
              <a:ext uri="{FF2B5EF4-FFF2-40B4-BE49-F238E27FC236}">
                <a16:creationId xmlns:a16="http://schemas.microsoft.com/office/drawing/2014/main" id="{B50A7495-3F44-4B2C-9416-50823BCA8AB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sk-SK" dirty="0"/>
              <a:t>Od roku 2010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sk-SK" dirty="0"/>
              <a:t>13 dodávateľov združujúcich viacerých slovenských pestovateľov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sk-SK" dirty="0"/>
              <a:t>Viac ako 100 položiek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sk-SK" dirty="0"/>
              <a:t>Zmluva o odoberanom množstve na mesačnej báz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sk-SK" dirty="0"/>
              <a:t>Špecifikácie - odrody, kalibre, baleni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sk-SK" dirty="0"/>
              <a:t>Požiadavka dodržovania Kaufland medzinárodných certifikačných štandardov (</a:t>
            </a:r>
            <a:r>
              <a:rPr lang="sk-SK" dirty="0" err="1"/>
              <a:t>GlobalGAP</a:t>
            </a:r>
            <a:r>
              <a:rPr lang="sk-SK" dirty="0"/>
              <a:t>)</a:t>
            </a:r>
          </a:p>
          <a:p>
            <a:endParaRPr lang="sk-SK" dirty="0"/>
          </a:p>
          <a:p>
            <a:endParaRPr lang="sk-SK" dirty="0"/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1E268D9-BA87-4F63-B80D-E1FD56566391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sk-SK" dirty="0"/>
              <a:t>KAUFLAND NA SLOVENSKU</a:t>
            </a:r>
          </a:p>
        </p:txBody>
      </p:sp>
      <p:sp>
        <p:nvSpPr>
          <p:cNvPr id="4" name="Nadpis 3">
            <a:extLst>
              <a:ext uri="{FF2B5EF4-FFF2-40B4-BE49-F238E27FC236}">
                <a16:creationId xmlns:a16="http://schemas.microsoft.com/office/drawing/2014/main" id="{469745A4-6E17-4EEE-9ED0-E6A045E5DC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286" y="679986"/>
            <a:ext cx="8350079" cy="352163"/>
          </a:xfrm>
        </p:spPr>
        <p:txBody>
          <a:bodyPr/>
          <a:lstStyle/>
          <a:p>
            <a:r>
              <a:rPr lang="sk-SK" dirty="0"/>
              <a:t>PESTOVATEĽSKÉ KONTRAKTY</a:t>
            </a:r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4EE7C8B4-CA75-467C-9A68-DC5D64EF730B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/>
        <p:txBody>
          <a:bodyPr/>
          <a:lstStyle/>
          <a:p>
            <a:endParaRPr lang="sk-SK"/>
          </a:p>
        </p:txBody>
      </p:sp>
      <p:sp>
        <p:nvSpPr>
          <p:cNvPr id="6" name="Zástupný objekt pre dátum 5">
            <a:extLst>
              <a:ext uri="{FF2B5EF4-FFF2-40B4-BE49-F238E27FC236}">
                <a16:creationId xmlns:a16="http://schemas.microsoft.com/office/drawing/2014/main" id="{4F586B6C-8F2A-4F75-91F2-C03D2364D5A3}"/>
              </a:ext>
            </a:extLst>
          </p:cNvPr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fld id="{ABCC69BF-0892-4274-AFBF-9E0943657B84}" type="datetime1">
              <a:rPr lang="sk-SK" smtClean="0"/>
              <a:t>30. 11. 2020</a:t>
            </a:fld>
            <a:endParaRPr lang="sk-SK" dirty="0"/>
          </a:p>
        </p:txBody>
      </p:sp>
      <p:sp>
        <p:nvSpPr>
          <p:cNvPr id="7" name="Zástupný objekt pre pätu 6">
            <a:extLst>
              <a:ext uri="{FF2B5EF4-FFF2-40B4-BE49-F238E27FC236}">
                <a16:creationId xmlns:a16="http://schemas.microsoft.com/office/drawing/2014/main" id="{AE26FDF4-76D1-4E17-B3E8-66BDE34CD562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r>
              <a:rPr lang="sk-SK" noProof="0"/>
              <a:t>Päta</a:t>
            </a:r>
            <a:endParaRPr lang="sk-SK" noProof="0" dirty="0"/>
          </a:p>
        </p:txBody>
      </p:sp>
      <p:sp>
        <p:nvSpPr>
          <p:cNvPr id="8" name="Zástupný objekt pre číslo snímky 7">
            <a:extLst>
              <a:ext uri="{FF2B5EF4-FFF2-40B4-BE49-F238E27FC236}">
                <a16:creationId xmlns:a16="http://schemas.microsoft.com/office/drawing/2014/main" id="{2F27786A-D2BA-4FD8-8EBB-DDB7717C8987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r>
              <a:rPr lang="sk-SK" noProof="0">
                <a:sym typeface="Wingdings"/>
              </a:rPr>
              <a:t>  </a:t>
            </a:r>
            <a:fld id="{443B15C8-972D-49F6-9B7C-5A2154A8C95F}" type="slidenum">
              <a:rPr lang="sk-SK" noProof="0" smtClean="0"/>
              <a:pPr/>
              <a:t>5</a:t>
            </a:fld>
            <a:endParaRPr lang="sk-SK" noProof="0" dirty="0"/>
          </a:p>
        </p:txBody>
      </p:sp>
      <p:pic>
        <p:nvPicPr>
          <p:cNvPr id="11" name="Obrázok 10">
            <a:extLst>
              <a:ext uri="{FF2B5EF4-FFF2-40B4-BE49-F238E27FC236}">
                <a16:creationId xmlns:a16="http://schemas.microsoft.com/office/drawing/2014/main" id="{3A4A53A3-AEB5-46E7-8F1A-7D0B3E23991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99792" y="3041417"/>
            <a:ext cx="2165837" cy="1422097"/>
          </a:xfrm>
          <a:prstGeom prst="rect">
            <a:avLst/>
          </a:prstGeom>
        </p:spPr>
      </p:pic>
      <p:pic>
        <p:nvPicPr>
          <p:cNvPr id="14" name="Obrázok 13">
            <a:extLst>
              <a:ext uri="{FF2B5EF4-FFF2-40B4-BE49-F238E27FC236}">
                <a16:creationId xmlns:a16="http://schemas.microsoft.com/office/drawing/2014/main" id="{5619F4AD-4CBE-4822-98F0-D3B4CF670B1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8552" y="3016695"/>
            <a:ext cx="2149439" cy="1471539"/>
          </a:xfrm>
          <a:prstGeom prst="rect">
            <a:avLst/>
          </a:prstGeom>
        </p:spPr>
      </p:pic>
      <p:pic>
        <p:nvPicPr>
          <p:cNvPr id="15" name="Obrázok 14">
            <a:extLst>
              <a:ext uri="{FF2B5EF4-FFF2-40B4-BE49-F238E27FC236}">
                <a16:creationId xmlns:a16="http://schemas.microsoft.com/office/drawing/2014/main" id="{6DCF4240-5311-4A3E-A23F-4138081C298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865629" y="3016695"/>
            <a:ext cx="2524070" cy="14468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6765217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Obrázok 8">
            <a:extLst>
              <a:ext uri="{FF2B5EF4-FFF2-40B4-BE49-F238E27FC236}">
                <a16:creationId xmlns:a16="http://schemas.microsoft.com/office/drawing/2014/main" id="{70722870-E184-44DE-88F3-A415AE9F9CE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3569" y="1923678"/>
            <a:ext cx="1440160" cy="1224136"/>
          </a:xfrm>
          <a:prstGeom prst="rect">
            <a:avLst/>
          </a:prstGeom>
        </p:spPr>
      </p:pic>
      <p:sp>
        <p:nvSpPr>
          <p:cNvPr id="2" name="Zástupný text 1">
            <a:extLst>
              <a:ext uri="{FF2B5EF4-FFF2-40B4-BE49-F238E27FC236}">
                <a16:creationId xmlns:a16="http://schemas.microsoft.com/office/drawing/2014/main" id="{9231D2C0-B2C7-46AA-B06F-8D039704049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sk-SK" dirty="0"/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BF62D47E-2C6A-480D-A648-3E3E2F95B80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sk-SK" dirty="0"/>
              <a:t>KAUFLAND NA SLOVENSKU</a:t>
            </a:r>
          </a:p>
        </p:txBody>
      </p:sp>
      <p:sp>
        <p:nvSpPr>
          <p:cNvPr id="4" name="Nadpis 3">
            <a:extLst>
              <a:ext uri="{FF2B5EF4-FFF2-40B4-BE49-F238E27FC236}">
                <a16:creationId xmlns:a16="http://schemas.microsoft.com/office/drawing/2014/main" id="{F6FC97ED-3C9D-40ED-9E88-3E29022F7B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288" y="555526"/>
            <a:ext cx="8350079" cy="486576"/>
          </a:xfrm>
        </p:spPr>
        <p:txBody>
          <a:bodyPr/>
          <a:lstStyle/>
          <a:p>
            <a:r>
              <a:rPr lang="sk-SK" dirty="0"/>
              <a:t>Spolupráca so slovenskými pestovateľmi </a:t>
            </a:r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6C5CD5CD-C34A-44F2-8DB6-00B79CDBE441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/>
        <p:txBody>
          <a:bodyPr/>
          <a:lstStyle/>
          <a:p>
            <a:endParaRPr lang="sk-SK"/>
          </a:p>
        </p:txBody>
      </p:sp>
      <p:sp>
        <p:nvSpPr>
          <p:cNvPr id="6" name="Zástupný objekt pre dátum 5">
            <a:extLst>
              <a:ext uri="{FF2B5EF4-FFF2-40B4-BE49-F238E27FC236}">
                <a16:creationId xmlns:a16="http://schemas.microsoft.com/office/drawing/2014/main" id="{C2368495-64DD-4F9B-8EFC-9F194C5955EC}"/>
              </a:ext>
            </a:extLst>
          </p:cNvPr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fld id="{ABCC69BF-0892-4274-AFBF-9E0943657B84}" type="datetime1">
              <a:rPr lang="sk-SK" smtClean="0"/>
              <a:t>30. 11. 2020</a:t>
            </a:fld>
            <a:endParaRPr lang="sk-SK" dirty="0"/>
          </a:p>
        </p:txBody>
      </p:sp>
      <p:sp>
        <p:nvSpPr>
          <p:cNvPr id="7" name="Zástupný objekt pre pätu 6">
            <a:extLst>
              <a:ext uri="{FF2B5EF4-FFF2-40B4-BE49-F238E27FC236}">
                <a16:creationId xmlns:a16="http://schemas.microsoft.com/office/drawing/2014/main" id="{707CF0B1-42F6-47A1-B779-BC38BA3F5D6C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r>
              <a:rPr lang="sk-SK" noProof="0"/>
              <a:t>Päta</a:t>
            </a:r>
            <a:endParaRPr lang="sk-SK" noProof="0" dirty="0"/>
          </a:p>
        </p:txBody>
      </p:sp>
      <p:sp>
        <p:nvSpPr>
          <p:cNvPr id="8" name="Zástupný objekt pre číslo snímky 7">
            <a:extLst>
              <a:ext uri="{FF2B5EF4-FFF2-40B4-BE49-F238E27FC236}">
                <a16:creationId xmlns:a16="http://schemas.microsoft.com/office/drawing/2014/main" id="{272D6EB6-44C3-4357-8FA6-6EEEDAC47E54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r>
              <a:rPr lang="sk-SK" noProof="0">
                <a:sym typeface="Wingdings"/>
              </a:rPr>
              <a:t>  </a:t>
            </a:r>
            <a:fld id="{443B15C8-972D-49F6-9B7C-5A2154A8C95F}" type="slidenum">
              <a:rPr lang="sk-SK" noProof="0" smtClean="0"/>
              <a:pPr/>
              <a:t>6</a:t>
            </a:fld>
            <a:endParaRPr lang="sk-SK" noProof="0" dirty="0"/>
          </a:p>
        </p:txBody>
      </p:sp>
      <p:graphicFrame>
        <p:nvGraphicFramePr>
          <p:cNvPr id="11" name="Tabuľka 10">
            <a:extLst>
              <a:ext uri="{FF2B5EF4-FFF2-40B4-BE49-F238E27FC236}">
                <a16:creationId xmlns:a16="http://schemas.microsoft.com/office/drawing/2014/main" id="{BEEE057D-F4FB-4BD3-A1D3-A75BEABA741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28560109"/>
              </p:ext>
            </p:extLst>
          </p:nvPr>
        </p:nvGraphicFramePr>
        <p:xfrm>
          <a:off x="1835696" y="3975985"/>
          <a:ext cx="5688634" cy="531495"/>
        </p:xfrm>
        <a:graphic>
          <a:graphicData uri="http://schemas.openxmlformats.org/drawingml/2006/table">
            <a:tbl>
              <a:tblPr/>
              <a:tblGrid>
                <a:gridCol w="686809">
                  <a:extLst>
                    <a:ext uri="{9D8B030D-6E8A-4147-A177-3AD203B41FA5}">
                      <a16:colId xmlns:a16="http://schemas.microsoft.com/office/drawing/2014/main" val="3912043144"/>
                    </a:ext>
                  </a:extLst>
                </a:gridCol>
                <a:gridCol w="686809">
                  <a:extLst>
                    <a:ext uri="{9D8B030D-6E8A-4147-A177-3AD203B41FA5}">
                      <a16:colId xmlns:a16="http://schemas.microsoft.com/office/drawing/2014/main" val="2964856433"/>
                    </a:ext>
                  </a:extLst>
                </a:gridCol>
                <a:gridCol w="544811">
                  <a:extLst>
                    <a:ext uri="{9D8B030D-6E8A-4147-A177-3AD203B41FA5}">
                      <a16:colId xmlns:a16="http://schemas.microsoft.com/office/drawing/2014/main" val="3079548226"/>
                    </a:ext>
                  </a:extLst>
                </a:gridCol>
                <a:gridCol w="602769">
                  <a:extLst>
                    <a:ext uri="{9D8B030D-6E8A-4147-A177-3AD203B41FA5}">
                      <a16:colId xmlns:a16="http://schemas.microsoft.com/office/drawing/2014/main" val="3406399668"/>
                    </a:ext>
                  </a:extLst>
                </a:gridCol>
                <a:gridCol w="602769">
                  <a:extLst>
                    <a:ext uri="{9D8B030D-6E8A-4147-A177-3AD203B41FA5}">
                      <a16:colId xmlns:a16="http://schemas.microsoft.com/office/drawing/2014/main" val="2211897115"/>
                    </a:ext>
                  </a:extLst>
                </a:gridCol>
                <a:gridCol w="637545">
                  <a:extLst>
                    <a:ext uri="{9D8B030D-6E8A-4147-A177-3AD203B41FA5}">
                      <a16:colId xmlns:a16="http://schemas.microsoft.com/office/drawing/2014/main" val="3473223279"/>
                    </a:ext>
                  </a:extLst>
                </a:gridCol>
                <a:gridCol w="686809">
                  <a:extLst>
                    <a:ext uri="{9D8B030D-6E8A-4147-A177-3AD203B41FA5}">
                      <a16:colId xmlns:a16="http://schemas.microsoft.com/office/drawing/2014/main" val="3402431841"/>
                    </a:ext>
                  </a:extLst>
                </a:gridCol>
                <a:gridCol w="683911">
                  <a:extLst>
                    <a:ext uri="{9D8B030D-6E8A-4147-A177-3AD203B41FA5}">
                      <a16:colId xmlns:a16="http://schemas.microsoft.com/office/drawing/2014/main" val="335126681"/>
                    </a:ext>
                  </a:extLst>
                </a:gridCol>
                <a:gridCol w="556402">
                  <a:extLst>
                    <a:ext uri="{9D8B030D-6E8A-4147-A177-3AD203B41FA5}">
                      <a16:colId xmlns:a16="http://schemas.microsoft.com/office/drawing/2014/main" val="2883095225"/>
                    </a:ext>
                  </a:extLst>
                </a:gridCol>
              </a:tblGrid>
              <a:tr h="166545">
                <a:tc>
                  <a:txBody>
                    <a:bodyPr/>
                    <a:lstStyle/>
                    <a:p>
                      <a:pPr algn="l" fontAlgn="b"/>
                      <a:r>
                        <a:rPr lang="sk-SK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k-SK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-6/2019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k-SK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k-SK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-6/202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k-SK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k-SK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-12/2019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k-SK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k-SK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-11/202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k-SK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01652091"/>
                  </a:ext>
                </a:extLst>
              </a:tr>
              <a:tr h="166545">
                <a:tc>
                  <a:txBody>
                    <a:bodyPr/>
                    <a:lstStyle/>
                    <a:p>
                      <a:pPr algn="l" fontAlgn="b"/>
                      <a:r>
                        <a:rPr lang="sk-SK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k-SK" sz="11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Import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k-SK" sz="1100" b="0" i="0" u="none" strike="noStrike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</a:rPr>
                        <a:t>SK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k-SK" sz="11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Import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k-SK" sz="1100" b="0" i="0" u="none" strike="noStrike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</a:rPr>
                        <a:t>SK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k-SK" sz="11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Import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k-SK" sz="1100" b="0" i="0" u="none" strike="noStrike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</a:rPr>
                        <a:t>SK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k-SK" sz="11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Import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k-SK" sz="1100" b="0" i="0" u="none" strike="noStrike" dirty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</a:rPr>
                        <a:t>SK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94941040"/>
                  </a:ext>
                </a:extLst>
              </a:tr>
              <a:tr h="166545">
                <a:tc>
                  <a:txBody>
                    <a:bodyPr/>
                    <a:lstStyle/>
                    <a:p>
                      <a:pPr algn="l" fontAlgn="b"/>
                      <a:r>
                        <a:rPr lang="sk-SK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učoriedky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sk-SK" sz="11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151 999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sk-SK" sz="1100" b="0" i="0" u="none" strike="noStrike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</a:rPr>
                        <a:t>386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sk-SK" sz="11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145 923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sk-SK" sz="1100" b="0" i="0" u="none" strike="noStrike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</a:rPr>
                        <a:t>1 192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sk-SK" sz="11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97 352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sk-SK" sz="1100" b="0" i="0" u="none" strike="noStrike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</a:rPr>
                        <a:t>54 416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sk-SK" sz="11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40 205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sk-SK" sz="1100" b="0" i="0" u="none" strike="noStrike" dirty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</a:rPr>
                        <a:t>61 244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07527736"/>
                  </a:ext>
                </a:extLst>
              </a:tr>
            </a:tbl>
          </a:graphicData>
        </a:graphic>
      </p:graphicFrame>
      <p:graphicFrame>
        <p:nvGraphicFramePr>
          <p:cNvPr id="12" name="Graf 11">
            <a:extLst>
              <a:ext uri="{FF2B5EF4-FFF2-40B4-BE49-F238E27FC236}">
                <a16:creationId xmlns:a16="http://schemas.microsoft.com/office/drawing/2014/main" id="{9F49DDA6-AC19-4F25-BE87-F9D26C5C21F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03304615"/>
              </p:ext>
            </p:extLst>
          </p:nvPr>
        </p:nvGraphicFramePr>
        <p:xfrm>
          <a:off x="2555776" y="1157092"/>
          <a:ext cx="4572000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4210691784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text 1">
            <a:extLst>
              <a:ext uri="{FF2B5EF4-FFF2-40B4-BE49-F238E27FC236}">
                <a16:creationId xmlns:a16="http://schemas.microsoft.com/office/drawing/2014/main" id="{CF8857E5-560C-480F-8095-5F36DB5191C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sk-SK" dirty="0"/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067DBB65-63CD-4618-A656-8E3EAA078ABE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sk-SK" dirty="0"/>
              <a:t>Kaufland na </a:t>
            </a:r>
            <a:r>
              <a:rPr lang="sk-SK" dirty="0" err="1"/>
              <a:t>slovensku</a:t>
            </a:r>
            <a:endParaRPr lang="sk-SK" dirty="0"/>
          </a:p>
        </p:txBody>
      </p:sp>
      <p:sp>
        <p:nvSpPr>
          <p:cNvPr id="4" name="Nadpis 3">
            <a:extLst>
              <a:ext uri="{FF2B5EF4-FFF2-40B4-BE49-F238E27FC236}">
                <a16:creationId xmlns:a16="http://schemas.microsoft.com/office/drawing/2014/main" id="{F66FE3BC-E812-461B-9BDE-663FDD35CC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288" y="555526"/>
            <a:ext cx="8350079" cy="486576"/>
          </a:xfrm>
        </p:spPr>
        <p:txBody>
          <a:bodyPr/>
          <a:lstStyle/>
          <a:p>
            <a:r>
              <a:rPr lang="sk-SK" dirty="0"/>
              <a:t>Spolupráca so slovenskými pestovateľmi</a:t>
            </a:r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1729AE8E-23A2-49D9-8F25-9A757A3BAE9A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/>
        <p:txBody>
          <a:bodyPr/>
          <a:lstStyle/>
          <a:p>
            <a:endParaRPr lang="sk-SK"/>
          </a:p>
        </p:txBody>
      </p:sp>
      <p:sp>
        <p:nvSpPr>
          <p:cNvPr id="6" name="Zástupný objekt pre dátum 5">
            <a:extLst>
              <a:ext uri="{FF2B5EF4-FFF2-40B4-BE49-F238E27FC236}">
                <a16:creationId xmlns:a16="http://schemas.microsoft.com/office/drawing/2014/main" id="{988BF427-7BB1-4835-853D-FD2B71FA9DEE}"/>
              </a:ext>
            </a:extLst>
          </p:cNvPr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fld id="{ABCC69BF-0892-4274-AFBF-9E0943657B84}" type="datetime1">
              <a:rPr lang="sk-SK" smtClean="0"/>
              <a:t>30. 11. 2020</a:t>
            </a:fld>
            <a:endParaRPr lang="sk-SK" dirty="0"/>
          </a:p>
        </p:txBody>
      </p:sp>
      <p:sp>
        <p:nvSpPr>
          <p:cNvPr id="7" name="Zástupný objekt pre pätu 6">
            <a:extLst>
              <a:ext uri="{FF2B5EF4-FFF2-40B4-BE49-F238E27FC236}">
                <a16:creationId xmlns:a16="http://schemas.microsoft.com/office/drawing/2014/main" id="{7BACB612-1D10-4E54-8FBC-78989039D223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r>
              <a:rPr lang="sk-SK" noProof="0"/>
              <a:t>Päta</a:t>
            </a:r>
            <a:endParaRPr lang="sk-SK" noProof="0" dirty="0"/>
          </a:p>
        </p:txBody>
      </p:sp>
      <p:sp>
        <p:nvSpPr>
          <p:cNvPr id="8" name="Zástupný objekt pre číslo snímky 7">
            <a:extLst>
              <a:ext uri="{FF2B5EF4-FFF2-40B4-BE49-F238E27FC236}">
                <a16:creationId xmlns:a16="http://schemas.microsoft.com/office/drawing/2014/main" id="{7AAF8691-4832-4A9E-9FA7-57F26F27FAEA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r>
              <a:rPr lang="sk-SK" noProof="0">
                <a:sym typeface="Wingdings"/>
              </a:rPr>
              <a:t>  </a:t>
            </a:r>
            <a:fld id="{443B15C8-972D-49F6-9B7C-5A2154A8C95F}" type="slidenum">
              <a:rPr lang="sk-SK" noProof="0" smtClean="0"/>
              <a:pPr/>
              <a:t>7</a:t>
            </a:fld>
            <a:endParaRPr lang="sk-SK" noProof="0" dirty="0"/>
          </a:p>
        </p:txBody>
      </p:sp>
      <p:graphicFrame>
        <p:nvGraphicFramePr>
          <p:cNvPr id="9" name="Objekt 8">
            <a:extLst>
              <a:ext uri="{FF2B5EF4-FFF2-40B4-BE49-F238E27FC236}">
                <a16:creationId xmlns:a16="http://schemas.microsoft.com/office/drawing/2014/main" id="{F45A06F4-7855-4A9A-915D-D6EFC56C2773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59030764"/>
              </p:ext>
            </p:extLst>
          </p:nvPr>
        </p:nvGraphicFramePr>
        <p:xfrm>
          <a:off x="2051720" y="3939902"/>
          <a:ext cx="5821685" cy="5754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31" name="Worksheet" r:id="rId3" imgW="6181718" imgH="581060" progId="Excel.Sheet.12">
                  <p:embed/>
                </p:oleObj>
              </mc:Choice>
              <mc:Fallback>
                <p:oleObj name="Worksheet" r:id="rId3" imgW="6181718" imgH="581060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051720" y="3939902"/>
                        <a:ext cx="5821685" cy="57542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Graf 9">
            <a:extLst>
              <a:ext uri="{FF2B5EF4-FFF2-40B4-BE49-F238E27FC236}">
                <a16:creationId xmlns:a16="http://schemas.microsoft.com/office/drawing/2014/main" id="{F2289564-8E1E-44FF-9204-6E7CEDFB946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79114327"/>
              </p:ext>
            </p:extLst>
          </p:nvPr>
        </p:nvGraphicFramePr>
        <p:xfrm>
          <a:off x="2771800" y="1196702"/>
          <a:ext cx="4572000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pic>
        <p:nvPicPr>
          <p:cNvPr id="11" name="Obrázok 10">
            <a:extLst>
              <a:ext uri="{FF2B5EF4-FFF2-40B4-BE49-F238E27FC236}">
                <a16:creationId xmlns:a16="http://schemas.microsoft.com/office/drawing/2014/main" id="{BCAFC694-F5D9-4237-BF90-3F50EDB12C2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67870" y="2010159"/>
            <a:ext cx="1687245" cy="11231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3155424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text 1">
            <a:extLst>
              <a:ext uri="{FF2B5EF4-FFF2-40B4-BE49-F238E27FC236}">
                <a16:creationId xmlns:a16="http://schemas.microsoft.com/office/drawing/2014/main" id="{C0D490E4-58FD-4BD9-94DC-2368F4BA58B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sk-SK" dirty="0"/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44B3FAAC-F301-465C-BFEA-BAA10B0F149B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sk-SK" dirty="0"/>
              <a:t>Kaufland na </a:t>
            </a:r>
            <a:r>
              <a:rPr lang="sk-SK" dirty="0" err="1"/>
              <a:t>slovensku</a:t>
            </a:r>
            <a:endParaRPr lang="sk-SK" dirty="0"/>
          </a:p>
        </p:txBody>
      </p:sp>
      <p:sp>
        <p:nvSpPr>
          <p:cNvPr id="4" name="Nadpis 3">
            <a:extLst>
              <a:ext uri="{FF2B5EF4-FFF2-40B4-BE49-F238E27FC236}">
                <a16:creationId xmlns:a16="http://schemas.microsoft.com/office/drawing/2014/main" id="{AB6236A0-892B-4A95-8BB1-21DFB609CE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288" y="555526"/>
            <a:ext cx="8350079" cy="486576"/>
          </a:xfrm>
        </p:spPr>
        <p:txBody>
          <a:bodyPr/>
          <a:lstStyle/>
          <a:p>
            <a:r>
              <a:rPr lang="sk-SK" dirty="0"/>
              <a:t>Spolupráca so slovenskými pestovateľmi</a:t>
            </a:r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B769ABC1-393C-4A0F-AEA0-8907297D9152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/>
        <p:txBody>
          <a:bodyPr/>
          <a:lstStyle/>
          <a:p>
            <a:endParaRPr lang="sk-SK"/>
          </a:p>
        </p:txBody>
      </p:sp>
      <p:sp>
        <p:nvSpPr>
          <p:cNvPr id="6" name="Zástupný objekt pre dátum 5">
            <a:extLst>
              <a:ext uri="{FF2B5EF4-FFF2-40B4-BE49-F238E27FC236}">
                <a16:creationId xmlns:a16="http://schemas.microsoft.com/office/drawing/2014/main" id="{6B486295-927F-43B4-AD53-75EF1F7047FE}"/>
              </a:ext>
            </a:extLst>
          </p:cNvPr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fld id="{ABCC69BF-0892-4274-AFBF-9E0943657B84}" type="datetime1">
              <a:rPr lang="sk-SK" smtClean="0"/>
              <a:t>30. 11. 2020</a:t>
            </a:fld>
            <a:endParaRPr lang="sk-SK" dirty="0"/>
          </a:p>
        </p:txBody>
      </p:sp>
      <p:sp>
        <p:nvSpPr>
          <p:cNvPr id="7" name="Zástupný objekt pre pätu 6">
            <a:extLst>
              <a:ext uri="{FF2B5EF4-FFF2-40B4-BE49-F238E27FC236}">
                <a16:creationId xmlns:a16="http://schemas.microsoft.com/office/drawing/2014/main" id="{AA144AE9-17DB-4B45-B734-5B06E45D386A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r>
              <a:rPr lang="sk-SK" noProof="0"/>
              <a:t>Päta</a:t>
            </a:r>
            <a:endParaRPr lang="sk-SK" noProof="0" dirty="0"/>
          </a:p>
        </p:txBody>
      </p:sp>
      <p:sp>
        <p:nvSpPr>
          <p:cNvPr id="8" name="Zástupný objekt pre číslo snímky 7">
            <a:extLst>
              <a:ext uri="{FF2B5EF4-FFF2-40B4-BE49-F238E27FC236}">
                <a16:creationId xmlns:a16="http://schemas.microsoft.com/office/drawing/2014/main" id="{7B1331C4-6C76-4B65-BCC1-7C3070D6BA80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r>
              <a:rPr lang="sk-SK" noProof="0">
                <a:sym typeface="Wingdings"/>
              </a:rPr>
              <a:t>  </a:t>
            </a:r>
            <a:fld id="{443B15C8-972D-49F6-9B7C-5A2154A8C95F}" type="slidenum">
              <a:rPr lang="sk-SK" noProof="0" smtClean="0"/>
              <a:pPr/>
              <a:t>8</a:t>
            </a:fld>
            <a:endParaRPr lang="sk-SK" noProof="0" dirty="0"/>
          </a:p>
        </p:txBody>
      </p:sp>
      <p:graphicFrame>
        <p:nvGraphicFramePr>
          <p:cNvPr id="11" name="Graf 10">
            <a:extLst>
              <a:ext uri="{FF2B5EF4-FFF2-40B4-BE49-F238E27FC236}">
                <a16:creationId xmlns:a16="http://schemas.microsoft.com/office/drawing/2014/main" id="{E9190C90-6E11-4CA6-BAE7-0426657B9A6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86902465"/>
              </p:ext>
            </p:extLst>
          </p:nvPr>
        </p:nvGraphicFramePr>
        <p:xfrm>
          <a:off x="2555776" y="1042103"/>
          <a:ext cx="4572000" cy="275051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6" name="Objekt 15">
            <a:extLst>
              <a:ext uri="{FF2B5EF4-FFF2-40B4-BE49-F238E27FC236}">
                <a16:creationId xmlns:a16="http://schemas.microsoft.com/office/drawing/2014/main" id="{50DC2E8A-B865-40D8-9C34-93F0ECE390F6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960127920"/>
              </p:ext>
            </p:extLst>
          </p:nvPr>
        </p:nvGraphicFramePr>
        <p:xfrm>
          <a:off x="1925444" y="3882403"/>
          <a:ext cx="6174946" cy="59840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54" name="Worksheet" r:id="rId4" imgW="6420149" imgH="581060" progId="Excel.Sheet.12">
                  <p:embed/>
                </p:oleObj>
              </mc:Choice>
              <mc:Fallback>
                <p:oleObj name="Worksheet" r:id="rId4" imgW="6420149" imgH="581060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25444" y="3882403"/>
                        <a:ext cx="6174946" cy="59840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7" name="Obrázok 16">
            <a:extLst>
              <a:ext uri="{FF2B5EF4-FFF2-40B4-BE49-F238E27FC236}">
                <a16:creationId xmlns:a16="http://schemas.microsoft.com/office/drawing/2014/main" id="{C3376CE1-2591-482F-9449-B0159075ADD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 flipH="1">
            <a:off x="690566" y="1923678"/>
            <a:ext cx="1782223" cy="10507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7282120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text 1">
            <a:extLst>
              <a:ext uri="{FF2B5EF4-FFF2-40B4-BE49-F238E27FC236}">
                <a16:creationId xmlns:a16="http://schemas.microsoft.com/office/drawing/2014/main" id="{4D912E4C-64F4-4596-B6B5-ED3992A4099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sk-SK" dirty="0"/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501B8977-D769-42B0-9D85-A562999C15B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sk-SK" dirty="0"/>
              <a:t>Kaufland na </a:t>
            </a:r>
            <a:r>
              <a:rPr lang="sk-SK" dirty="0" err="1"/>
              <a:t>slovensku</a:t>
            </a:r>
            <a:endParaRPr lang="sk-SK" dirty="0"/>
          </a:p>
        </p:txBody>
      </p:sp>
      <p:sp>
        <p:nvSpPr>
          <p:cNvPr id="4" name="Nadpis 3">
            <a:extLst>
              <a:ext uri="{FF2B5EF4-FFF2-40B4-BE49-F238E27FC236}">
                <a16:creationId xmlns:a16="http://schemas.microsoft.com/office/drawing/2014/main" id="{9BF2A30D-E839-4619-A040-B21AF2E39F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288" y="555526"/>
            <a:ext cx="8350079" cy="486576"/>
          </a:xfrm>
        </p:spPr>
        <p:txBody>
          <a:bodyPr/>
          <a:lstStyle/>
          <a:p>
            <a:r>
              <a:rPr lang="sk-SK" dirty="0"/>
              <a:t>Spolupráca so slovenskými pestovateľmi</a:t>
            </a:r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A94A7278-A825-4A80-BAB2-8C71507AE1D0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/>
        <p:txBody>
          <a:bodyPr/>
          <a:lstStyle/>
          <a:p>
            <a:endParaRPr lang="sk-SK"/>
          </a:p>
        </p:txBody>
      </p:sp>
      <p:sp>
        <p:nvSpPr>
          <p:cNvPr id="6" name="Zástupný objekt pre dátum 5">
            <a:extLst>
              <a:ext uri="{FF2B5EF4-FFF2-40B4-BE49-F238E27FC236}">
                <a16:creationId xmlns:a16="http://schemas.microsoft.com/office/drawing/2014/main" id="{3D4EA43B-5AC1-46A8-AE37-C6A96ACBC2FF}"/>
              </a:ext>
            </a:extLst>
          </p:cNvPr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fld id="{ABCC69BF-0892-4274-AFBF-9E0943657B84}" type="datetime1">
              <a:rPr lang="sk-SK" smtClean="0"/>
              <a:t>30. 11. 2020</a:t>
            </a:fld>
            <a:endParaRPr lang="sk-SK" dirty="0"/>
          </a:p>
        </p:txBody>
      </p:sp>
      <p:sp>
        <p:nvSpPr>
          <p:cNvPr id="7" name="Zástupný objekt pre pätu 6">
            <a:extLst>
              <a:ext uri="{FF2B5EF4-FFF2-40B4-BE49-F238E27FC236}">
                <a16:creationId xmlns:a16="http://schemas.microsoft.com/office/drawing/2014/main" id="{02770B64-768F-4B7E-A076-FAFA28C2387D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r>
              <a:rPr lang="sk-SK" noProof="0"/>
              <a:t>Päta</a:t>
            </a:r>
            <a:endParaRPr lang="sk-SK" noProof="0" dirty="0"/>
          </a:p>
        </p:txBody>
      </p:sp>
      <p:sp>
        <p:nvSpPr>
          <p:cNvPr id="8" name="Zástupný objekt pre číslo snímky 7">
            <a:extLst>
              <a:ext uri="{FF2B5EF4-FFF2-40B4-BE49-F238E27FC236}">
                <a16:creationId xmlns:a16="http://schemas.microsoft.com/office/drawing/2014/main" id="{4E027ABE-928B-4A45-AA51-D0270E8AC4E0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r>
              <a:rPr lang="sk-SK" noProof="0">
                <a:sym typeface="Wingdings"/>
              </a:rPr>
              <a:t>  </a:t>
            </a:r>
            <a:fld id="{443B15C8-972D-49F6-9B7C-5A2154A8C95F}" type="slidenum">
              <a:rPr lang="sk-SK" noProof="0" smtClean="0"/>
              <a:pPr/>
              <a:t>9</a:t>
            </a:fld>
            <a:endParaRPr lang="sk-SK" noProof="0" dirty="0"/>
          </a:p>
        </p:txBody>
      </p:sp>
      <p:graphicFrame>
        <p:nvGraphicFramePr>
          <p:cNvPr id="10" name="Objekt 9">
            <a:extLst>
              <a:ext uri="{FF2B5EF4-FFF2-40B4-BE49-F238E27FC236}">
                <a16:creationId xmlns:a16="http://schemas.microsoft.com/office/drawing/2014/main" id="{ED0F159C-3EA9-4B8B-B6B2-416046A7622F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651918986"/>
              </p:ext>
            </p:extLst>
          </p:nvPr>
        </p:nvGraphicFramePr>
        <p:xfrm>
          <a:off x="1619672" y="3963752"/>
          <a:ext cx="6533009" cy="56849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75" name="Worksheet" r:id="rId3" imgW="6677305" imgH="581060" progId="Excel.Sheet.12">
                  <p:embed/>
                </p:oleObj>
              </mc:Choice>
              <mc:Fallback>
                <p:oleObj name="Worksheet" r:id="rId3" imgW="6677305" imgH="581060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619672" y="3963752"/>
                        <a:ext cx="6533009" cy="56849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1" name="Graf 10">
            <a:extLst>
              <a:ext uri="{FF2B5EF4-FFF2-40B4-BE49-F238E27FC236}">
                <a16:creationId xmlns:a16="http://schemas.microsoft.com/office/drawing/2014/main" id="{372A8712-C5CA-4AFE-86A2-CE88FF9C831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76880155"/>
              </p:ext>
            </p:extLst>
          </p:nvPr>
        </p:nvGraphicFramePr>
        <p:xfrm>
          <a:off x="2555776" y="1190515"/>
          <a:ext cx="4572000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pic>
        <p:nvPicPr>
          <p:cNvPr id="12" name="Obrázok 11">
            <a:extLst>
              <a:ext uri="{FF2B5EF4-FFF2-40B4-BE49-F238E27FC236}">
                <a16:creationId xmlns:a16="http://schemas.microsoft.com/office/drawing/2014/main" id="{F2D7C24E-9F66-4FBC-AED8-EE8795F39D8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47441" y="1828284"/>
            <a:ext cx="1656184" cy="13409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403826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4187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  <p:tag name="FINNOVA_CATEGORY" val="None"/>
  <p:tag name="ISPRING_RESOURCE_PATHS_HASH_PRESENTER" val="4194cf15d2a3184885e4ed8511766499d7c0cf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Kaufland">
  <a:themeElements>
    <a:clrScheme name="Kaufland">
      <a:dk1>
        <a:sysClr val="windowText" lastClr="000000"/>
      </a:dk1>
      <a:lt1>
        <a:sysClr val="window" lastClr="FFFFFF"/>
      </a:lt1>
      <a:dk2>
        <a:srgbClr val="3E525A"/>
      </a:dk2>
      <a:lt2>
        <a:srgbClr val="6B87B1"/>
      </a:lt2>
      <a:accent1>
        <a:srgbClr val="5D6C73"/>
      </a:accent1>
      <a:accent2>
        <a:srgbClr val="828B92"/>
      </a:accent2>
      <a:accent3>
        <a:srgbClr val="C8C9CD"/>
      </a:accent3>
      <a:accent4>
        <a:srgbClr val="E3000F"/>
      </a:accent4>
      <a:accent5>
        <a:srgbClr val="EA4D34"/>
      </a:accent5>
      <a:accent6>
        <a:srgbClr val="F5A386"/>
      </a:accent6>
      <a:hlink>
        <a:srgbClr val="000000"/>
      </a:hlink>
      <a:folHlink>
        <a:srgbClr val="000000"/>
      </a:folHlink>
    </a:clrScheme>
    <a:fontScheme name="Kaufland">
      <a:majorFont>
        <a:latin typeface="Kaufland Office"/>
        <a:ea typeface=""/>
        <a:cs typeface=""/>
      </a:majorFont>
      <a:minorFont>
        <a:latin typeface="Kaufland Offic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1"/>
        </a:solidFill>
        <a:ln w="12700">
          <a:noFill/>
        </a:ln>
      </a:spPr>
      <a:bodyPr lIns="108000" tIns="108000" rIns="108000" bIns="108000" rtlCol="0" anchor="ctr"/>
      <a:lstStyle>
        <a:defPPr algn="ctr">
          <a:lnSpc>
            <a:spcPct val="110000"/>
          </a:lnSpc>
          <a:spcBef>
            <a:spcPts val="300"/>
          </a:spcBef>
          <a:spcAft>
            <a:spcPts val="300"/>
          </a:spcAft>
          <a:defRPr sz="1200" dirty="0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9525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noAutofit/>
      </a:bodyPr>
      <a:lstStyle>
        <a:defPPr marL="180000" indent="-180000">
          <a:lnSpc>
            <a:spcPct val="110000"/>
          </a:lnSpc>
          <a:spcBef>
            <a:spcPts val="300"/>
          </a:spcBef>
          <a:spcAft>
            <a:spcPts val="300"/>
          </a:spcAft>
          <a:buClr>
            <a:schemeClr val="accent1"/>
          </a:buClr>
          <a:buFont typeface="Kaufland Office" panose="020B0503040000020003" pitchFamily="34" charset="0"/>
          <a:buChar char="−"/>
          <a:defRPr sz="1200" dirty="0" smtClean="0"/>
        </a:defPPr>
      </a:lstStyle>
    </a:txDef>
  </a:objectDefaults>
  <a:extraClrSchemeLst/>
  <a:custClrLst>
    <a:custClr name="Kaufland 01">
      <a:srgbClr val="676154"/>
    </a:custClr>
    <a:custClr name="Kaufland 02">
      <a:srgbClr val="8DC63F"/>
    </a:custClr>
    <a:custClr name="Kaufland 03">
      <a:srgbClr val="F99D1C"/>
    </a:custClr>
    <a:custClr name="Kaufland 04">
      <a:srgbClr val="618A9B"/>
    </a:custClr>
    <a:custClr name="Kaufland 05">
      <a:srgbClr val="8BB7D3"/>
    </a:custClr>
  </a:custClrLst>
  <a:extLst>
    <a:ext uri="{05A4C25C-085E-4340-85A3-A5531E510DB2}">
      <thm15:themeFamily xmlns:thm15="http://schemas.microsoft.com/office/thememl/2012/main" name="Kaufland_Template_13_EXP_SK_new_logo" id="{6AFB4FE9-1B75-4DF2-BBA4-3D253AADF7E2}" vid="{7499FE92-EE1D-4232-8BAA-63AEC57F5AB0}"/>
    </a:ext>
  </a:extLst>
</a:theme>
</file>

<file path=ppt/theme/theme2.xml><?xml version="1.0" encoding="utf-8"?>
<a:theme xmlns:a="http://schemas.openxmlformats.org/drawingml/2006/main" name="Office Theme">
  <a:themeElements>
    <a:clrScheme name="Kaufland">
      <a:dk1>
        <a:sysClr val="windowText" lastClr="000000"/>
      </a:dk1>
      <a:lt1>
        <a:sysClr val="window" lastClr="FFFFFF"/>
      </a:lt1>
      <a:dk2>
        <a:srgbClr val="3E525A"/>
      </a:dk2>
      <a:lt2>
        <a:srgbClr val="6B87B1"/>
      </a:lt2>
      <a:accent1>
        <a:srgbClr val="5D6C73"/>
      </a:accent1>
      <a:accent2>
        <a:srgbClr val="828B92"/>
      </a:accent2>
      <a:accent3>
        <a:srgbClr val="C8C9CD"/>
      </a:accent3>
      <a:accent4>
        <a:srgbClr val="E3000F"/>
      </a:accent4>
      <a:accent5>
        <a:srgbClr val="EA4D34"/>
      </a:accent5>
      <a:accent6>
        <a:srgbClr val="F5A386"/>
      </a:accent6>
      <a:hlink>
        <a:srgbClr val="000000"/>
      </a:hlink>
      <a:folHlink>
        <a:srgbClr val="000000"/>
      </a:folHlink>
    </a:clrScheme>
    <a:fontScheme name="Kaufland">
      <a:majorFont>
        <a:latin typeface="Kaufland Office"/>
        <a:ea typeface=""/>
        <a:cs typeface=""/>
      </a:majorFont>
      <a:minorFont>
        <a:latin typeface="Kaufland Offic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1"/>
        </a:solidFill>
        <a:ln w="12700">
          <a:noFill/>
        </a:ln>
      </a:spPr>
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110000"/>
          </a:lnSpc>
          <a:spcBef>
            <a:spcPts val="300"/>
          </a:spcBef>
          <a:spcAft>
            <a:spcPts val="300"/>
          </a:spcAft>
          <a:defRPr sz="12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9525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noAutofit/>
      </a:bodyPr>
      <a:lstStyle>
        <a:defPPr marL="180000" indent="-180000">
          <a:lnSpc>
            <a:spcPct val="110000"/>
          </a:lnSpc>
          <a:spcBef>
            <a:spcPts val="200"/>
          </a:spcBef>
          <a:spcAft>
            <a:spcPts val="200"/>
          </a:spcAft>
          <a:buClr>
            <a:schemeClr val="accent1"/>
          </a:buClr>
          <a:buFont typeface="Symbol" panose="05050102010706020507" pitchFamily="18" charset="2"/>
          <a:buChar char="-"/>
          <a:defRPr sz="1000" dirty="0" err="1" smtClean="0"/>
        </a:defPPr>
      </a:lstStyle>
    </a:tx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Kaufland">
      <a:dk1>
        <a:sysClr val="windowText" lastClr="000000"/>
      </a:dk1>
      <a:lt1>
        <a:sysClr val="window" lastClr="FFFFFF"/>
      </a:lt1>
      <a:dk2>
        <a:srgbClr val="3E525A"/>
      </a:dk2>
      <a:lt2>
        <a:srgbClr val="6B87B1"/>
      </a:lt2>
      <a:accent1>
        <a:srgbClr val="5D6C73"/>
      </a:accent1>
      <a:accent2>
        <a:srgbClr val="828B92"/>
      </a:accent2>
      <a:accent3>
        <a:srgbClr val="C8C9CD"/>
      </a:accent3>
      <a:accent4>
        <a:srgbClr val="E3000F"/>
      </a:accent4>
      <a:accent5>
        <a:srgbClr val="EA4D34"/>
      </a:accent5>
      <a:accent6>
        <a:srgbClr val="F5A386"/>
      </a:accent6>
      <a:hlink>
        <a:srgbClr val="000000"/>
      </a:hlink>
      <a:folHlink>
        <a:srgbClr val="000000"/>
      </a:folHlink>
    </a:clrScheme>
    <a:fontScheme name="Kaufland">
      <a:majorFont>
        <a:latin typeface="Kaufland Office"/>
        <a:ea typeface=""/>
        <a:cs typeface=""/>
      </a:majorFont>
      <a:minorFont>
        <a:latin typeface="Kaufland Offic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1"/>
        </a:solidFill>
        <a:ln w="12700">
          <a:noFill/>
        </a:ln>
      </a:spPr>
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110000"/>
          </a:lnSpc>
          <a:spcBef>
            <a:spcPts val="300"/>
          </a:spcBef>
          <a:spcAft>
            <a:spcPts val="300"/>
          </a:spcAft>
          <a:defRPr sz="12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9525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noAutofit/>
      </a:bodyPr>
      <a:lstStyle>
        <a:defPPr marL="180000" indent="-180000">
          <a:lnSpc>
            <a:spcPct val="110000"/>
          </a:lnSpc>
          <a:spcBef>
            <a:spcPts val="200"/>
          </a:spcBef>
          <a:spcAft>
            <a:spcPts val="200"/>
          </a:spcAft>
          <a:buClr>
            <a:schemeClr val="accent1"/>
          </a:buClr>
          <a:buFont typeface="Symbol" panose="05050102010706020507" pitchFamily="18" charset="2"/>
          <a:buChar char="-"/>
          <a:defRPr sz="1000" dirty="0" err="1" smtClean="0"/>
        </a:defPPr>
      </a:lstStyle>
    </a:txDef>
  </a:objectDefaults>
  <a:extraClrSchemeLst/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5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6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7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8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683</Words>
  <Application>Microsoft Office PowerPoint</Application>
  <PresentationFormat>Prezentácia na obrazovke (16:9)</PresentationFormat>
  <Paragraphs>198</Paragraphs>
  <Slides>22</Slides>
  <Notes>4</Notes>
  <HiddenSlides>0</HiddenSlides>
  <MMClips>0</MMClips>
  <ScaleCrop>false</ScaleCrop>
  <HeadingPairs>
    <vt:vector size="8" baseType="variant">
      <vt:variant>
        <vt:lpstr>Použité písma</vt:lpstr>
      </vt:variant>
      <vt:variant>
        <vt:i4>4</vt:i4>
      </vt:variant>
      <vt:variant>
        <vt:lpstr>Motív</vt:lpstr>
      </vt:variant>
      <vt:variant>
        <vt:i4>1</vt:i4>
      </vt:variant>
      <vt:variant>
        <vt:lpstr>Vložené servery OLE</vt:lpstr>
      </vt:variant>
      <vt:variant>
        <vt:i4>2</vt:i4>
      </vt:variant>
      <vt:variant>
        <vt:lpstr>Nadpisy snímok</vt:lpstr>
      </vt:variant>
      <vt:variant>
        <vt:i4>22</vt:i4>
      </vt:variant>
    </vt:vector>
  </HeadingPairs>
  <TitlesOfParts>
    <vt:vector size="29" baseType="lpstr">
      <vt:lpstr>Arial</vt:lpstr>
      <vt:lpstr>Calibri</vt:lpstr>
      <vt:lpstr>Kaufland Office</vt:lpstr>
      <vt:lpstr>Wingdings</vt:lpstr>
      <vt:lpstr>Kaufland</vt:lpstr>
      <vt:lpstr>think-cell Folie</vt:lpstr>
      <vt:lpstr>Worksheet</vt:lpstr>
      <vt:lpstr>Potenciál a možnosti odbytu slovenskej produkcie v oblasti OZ</vt:lpstr>
      <vt:lpstr>Agenda</vt:lpstr>
      <vt:lpstr>Podiel SK produkcie ovocia a zeleniny </vt:lpstr>
      <vt:lpstr>Spolupráca so slovenskými pestovateľmi</vt:lpstr>
      <vt:lpstr>PESTOVATEĽSKÉ KONTRAKTY</vt:lpstr>
      <vt:lpstr>Spolupráca so slovenskými pestovateľmi </vt:lpstr>
      <vt:lpstr>Spolupráca so slovenskými pestovateľmi</vt:lpstr>
      <vt:lpstr>Spolupráca so slovenskými pestovateľmi</vt:lpstr>
      <vt:lpstr>Spolupráca so slovenskými pestovateľmi</vt:lpstr>
      <vt:lpstr>Spolupráca so slovenskými pestovateľmi</vt:lpstr>
      <vt:lpstr>Spolupráca so slovenskými pestovateľmi</vt:lpstr>
      <vt:lpstr>Spolupráca so slovenskými pestovateľmi</vt:lpstr>
      <vt:lpstr>Formy komunikácie slovenských plodín </vt:lpstr>
      <vt:lpstr>Tematické stránky v Prospekte</vt:lpstr>
      <vt:lpstr>K-Deal dva týždne výhod</vt:lpstr>
      <vt:lpstr>Prezentácia programu PowerPoint</vt:lpstr>
      <vt:lpstr>Spolupráca ZZZS</vt:lpstr>
      <vt:lpstr>Spolupráca ZZZS</vt:lpstr>
      <vt:lpstr>Sme čerství </vt:lpstr>
      <vt:lpstr>Ponuka spolupráce</vt:lpstr>
      <vt:lpstr>Ponuka spolupráce a možnosti zvyšovania predaja SK výrobkov</vt:lpstr>
      <vt:lpstr>Ďakujeme za pozornosť a tešíme sa na vzájomnú spoluprácu pri zvyšovaní sebestačnosti Slovenska v oblasti ovocia a zeleniny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tenciál a možnosti odbytu slovenskej produkcie v oblasti OZ</dc:title>
  <dc:creator>Luba Barosova</dc:creator>
  <cp:lastModifiedBy>Luba Barosova</cp:lastModifiedBy>
  <cp:revision>48</cp:revision>
  <cp:lastPrinted>2016-07-14T15:04:23Z</cp:lastPrinted>
  <dcterms:created xsi:type="dcterms:W3CDTF">2020-11-22T17:50:57Z</dcterms:created>
  <dcterms:modified xsi:type="dcterms:W3CDTF">2020-11-30T08:30:24Z</dcterms:modified>
</cp:coreProperties>
</file>